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30" r:id="rId2"/>
    <p:sldMasterId id="2147483671" r:id="rId3"/>
    <p:sldMasterId id="2147483741" r:id="rId4"/>
  </p:sldMasterIdLst>
  <p:notesMasterIdLst>
    <p:notesMasterId r:id="rId71"/>
  </p:notesMasterIdLst>
  <p:handoutMasterIdLst>
    <p:handoutMasterId r:id="rId72"/>
  </p:handoutMasterIdLst>
  <p:sldIdLst>
    <p:sldId id="256" r:id="rId5"/>
    <p:sldId id="258" r:id="rId6"/>
    <p:sldId id="259" r:id="rId7"/>
    <p:sldId id="260" r:id="rId8"/>
    <p:sldId id="263" r:id="rId9"/>
    <p:sldId id="262" r:id="rId10"/>
    <p:sldId id="264" r:id="rId11"/>
    <p:sldId id="265" r:id="rId12"/>
    <p:sldId id="286" r:id="rId13"/>
    <p:sldId id="266" r:id="rId14"/>
    <p:sldId id="296" r:id="rId15"/>
    <p:sldId id="287" r:id="rId16"/>
    <p:sldId id="269" r:id="rId17"/>
    <p:sldId id="321" r:id="rId18"/>
    <p:sldId id="323" r:id="rId19"/>
    <p:sldId id="324" r:id="rId20"/>
    <p:sldId id="325" r:id="rId21"/>
    <p:sldId id="326" r:id="rId22"/>
    <p:sldId id="327" r:id="rId23"/>
    <p:sldId id="328" r:id="rId24"/>
    <p:sldId id="329" r:id="rId25"/>
    <p:sldId id="330" r:id="rId26"/>
    <p:sldId id="342" r:id="rId27"/>
    <p:sldId id="343" r:id="rId28"/>
    <p:sldId id="344" r:id="rId29"/>
    <p:sldId id="345" r:id="rId30"/>
    <p:sldId id="346" r:id="rId31"/>
    <p:sldId id="347" r:id="rId32"/>
    <p:sldId id="348" r:id="rId33"/>
    <p:sldId id="349" r:id="rId34"/>
    <p:sldId id="294" r:id="rId35"/>
    <p:sldId id="289" r:id="rId36"/>
    <p:sldId id="290" r:id="rId37"/>
    <p:sldId id="291" r:id="rId38"/>
    <p:sldId id="292" r:id="rId39"/>
    <p:sldId id="293" r:id="rId40"/>
    <p:sldId id="306" r:id="rId41"/>
    <p:sldId id="308" r:id="rId42"/>
    <p:sldId id="309" r:id="rId43"/>
    <p:sldId id="310" r:id="rId44"/>
    <p:sldId id="311" r:id="rId45"/>
    <p:sldId id="312" r:id="rId46"/>
    <p:sldId id="313" r:id="rId47"/>
    <p:sldId id="320" r:id="rId48"/>
    <p:sldId id="314" r:id="rId49"/>
    <p:sldId id="315" r:id="rId50"/>
    <p:sldId id="316" r:id="rId51"/>
    <p:sldId id="317" r:id="rId52"/>
    <p:sldId id="318" r:id="rId53"/>
    <p:sldId id="298" r:id="rId54"/>
    <p:sldId id="299" r:id="rId55"/>
    <p:sldId id="350" r:id="rId56"/>
    <p:sldId id="301" r:id="rId57"/>
    <p:sldId id="302" r:id="rId58"/>
    <p:sldId id="303" r:id="rId59"/>
    <p:sldId id="304" r:id="rId60"/>
    <p:sldId id="305" r:id="rId61"/>
    <p:sldId id="339" r:id="rId62"/>
    <p:sldId id="332" r:id="rId63"/>
    <p:sldId id="333" r:id="rId64"/>
    <p:sldId id="334" r:id="rId65"/>
    <p:sldId id="335" r:id="rId66"/>
    <p:sldId id="336" r:id="rId67"/>
    <p:sldId id="337" r:id="rId68"/>
    <p:sldId id="338" r:id="rId69"/>
    <p:sldId id="340" r:id="rId70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options" id="{3B244085-A06C-4A0D-AC38-1FCCF96387FB}">
          <p14:sldIdLst>
            <p14:sldId id="256"/>
            <p14:sldId id="258"/>
            <p14:sldId id="259"/>
            <p14:sldId id="260"/>
            <p14:sldId id="263"/>
            <p14:sldId id="262"/>
            <p14:sldId id="264"/>
            <p14:sldId id="265"/>
            <p14:sldId id="286"/>
            <p14:sldId id="266"/>
            <p14:sldId id="296"/>
            <p14:sldId id="287"/>
            <p14:sldId id="269"/>
            <p14:sldId id="321"/>
            <p14:sldId id="323"/>
            <p14:sldId id="324"/>
            <p14:sldId id="325"/>
            <p14:sldId id="326"/>
            <p14:sldId id="327"/>
            <p14:sldId id="328"/>
            <p14:sldId id="329"/>
            <p14:sldId id="330"/>
            <p14:sldId id="342"/>
            <p14:sldId id="343"/>
            <p14:sldId id="344"/>
            <p14:sldId id="345"/>
            <p14:sldId id="346"/>
            <p14:sldId id="347"/>
            <p14:sldId id="348"/>
            <p14:sldId id="349"/>
            <p14:sldId id="294"/>
            <p14:sldId id="289"/>
            <p14:sldId id="290"/>
            <p14:sldId id="291"/>
            <p14:sldId id="292"/>
            <p14:sldId id="293"/>
            <p14:sldId id="306"/>
            <p14:sldId id="308"/>
            <p14:sldId id="309"/>
            <p14:sldId id="310"/>
            <p14:sldId id="311"/>
            <p14:sldId id="312"/>
            <p14:sldId id="313"/>
            <p14:sldId id="320"/>
            <p14:sldId id="314"/>
            <p14:sldId id="315"/>
            <p14:sldId id="316"/>
            <p14:sldId id="317"/>
            <p14:sldId id="318"/>
            <p14:sldId id="298"/>
            <p14:sldId id="299"/>
            <p14:sldId id="350"/>
            <p14:sldId id="301"/>
            <p14:sldId id="302"/>
            <p14:sldId id="303"/>
            <p14:sldId id="304"/>
            <p14:sldId id="305"/>
            <p14:sldId id="339"/>
            <p14:sldId id="332"/>
            <p14:sldId id="333"/>
            <p14:sldId id="334"/>
            <p14:sldId id="335"/>
            <p14:sldId id="336"/>
            <p14:sldId id="337"/>
            <p14:sldId id="338"/>
            <p14:sldId id="34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ters, Jessica" initials="PJ" lastIdx="1" clrIdx="0">
    <p:extLst/>
  </p:cmAuthor>
  <p:cmAuthor id="2" name="Kagithapu Lokanadha, Sai Krishna" initials="KLSK" lastIdx="1" clrIdx="1">
    <p:extLst>
      <p:ext uri="{19B8F6BF-5375-455C-9EA6-DF929625EA0E}">
        <p15:presenceInfo xmlns:p15="http://schemas.microsoft.com/office/powerpoint/2012/main" userId="S-1-5-21-1531082355-734649621-3782574898-30036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5E616"/>
    <a:srgbClr val="95E816"/>
    <a:srgbClr val="FFECAF"/>
    <a:srgbClr val="FECC26"/>
    <a:srgbClr val="0098CC"/>
    <a:srgbClr val="74B230"/>
    <a:srgbClr val="F3FCE4"/>
    <a:srgbClr val="FFD1D8"/>
    <a:srgbClr val="FFEF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47" autoAdjust="0"/>
    <p:restoredTop sz="98535" autoAdjust="0"/>
  </p:normalViewPr>
  <p:slideViewPr>
    <p:cSldViewPr>
      <p:cViewPr varScale="1">
        <p:scale>
          <a:sx n="72" d="100"/>
          <a:sy n="72" d="100"/>
        </p:scale>
        <p:origin x="54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585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commentAuthors" Target="commentAuthors.xml"/><Relationship Id="rId78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89426A-5260-40E6-8115-ACCCDD54440D}" type="doc">
      <dgm:prSet loTypeId="urn:microsoft.com/office/officeart/2005/8/layout/radial5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34ED455-8D5E-4D30-9193-FC0104F126C2}">
      <dgm:prSet phldrT="[Text]"/>
      <dgm:spPr/>
      <dgm:t>
        <a:bodyPr/>
        <a:lstStyle/>
        <a:p>
          <a:r>
            <a:rPr lang="en-US" dirty="0" smtClean="0"/>
            <a:t>Linux</a:t>
          </a:r>
          <a:endParaRPr lang="en-US" dirty="0"/>
        </a:p>
      </dgm:t>
    </dgm:pt>
    <dgm:pt modelId="{767C9D20-A977-478A-8E57-801CA4993677}" type="parTrans" cxnId="{2F421ED9-C0E8-42E4-A0FD-588397A7770E}">
      <dgm:prSet/>
      <dgm:spPr/>
      <dgm:t>
        <a:bodyPr/>
        <a:lstStyle/>
        <a:p>
          <a:endParaRPr lang="en-US"/>
        </a:p>
      </dgm:t>
    </dgm:pt>
    <dgm:pt modelId="{2BA8ADF3-CB38-4133-8DCC-6EF5D09E5862}" type="sibTrans" cxnId="{2F421ED9-C0E8-42E4-A0FD-588397A7770E}">
      <dgm:prSet/>
      <dgm:spPr/>
      <dgm:t>
        <a:bodyPr/>
        <a:lstStyle/>
        <a:p>
          <a:endParaRPr lang="en-US"/>
        </a:p>
      </dgm:t>
    </dgm:pt>
    <dgm:pt modelId="{53A4B96A-F180-4B49-AFD2-94DB7FFB9C9B}">
      <dgm:prSet phldrT="[Text]"/>
      <dgm:spPr/>
      <dgm:t>
        <a:bodyPr/>
        <a:lstStyle/>
        <a:p>
          <a:r>
            <a:rPr lang="en-US" dirty="0" smtClean="0"/>
            <a:t>OS Services</a:t>
          </a:r>
          <a:endParaRPr lang="en-US" dirty="0"/>
        </a:p>
      </dgm:t>
    </dgm:pt>
    <dgm:pt modelId="{DCADD2B7-3928-46C5-A104-E5AC6CA3A77B}" type="parTrans" cxnId="{AB9B6A7C-7F89-4175-99D4-607B769E41B2}">
      <dgm:prSet/>
      <dgm:spPr/>
      <dgm:t>
        <a:bodyPr/>
        <a:lstStyle/>
        <a:p>
          <a:endParaRPr lang="en-US" dirty="0"/>
        </a:p>
      </dgm:t>
    </dgm:pt>
    <dgm:pt modelId="{35308576-4DC1-4E93-85EF-19784D39007C}" type="sibTrans" cxnId="{AB9B6A7C-7F89-4175-99D4-607B769E41B2}">
      <dgm:prSet/>
      <dgm:spPr/>
      <dgm:t>
        <a:bodyPr/>
        <a:lstStyle/>
        <a:p>
          <a:endParaRPr lang="en-US"/>
        </a:p>
      </dgm:t>
    </dgm:pt>
    <dgm:pt modelId="{72011C4C-F70C-4059-8361-9E634F17734A}">
      <dgm:prSet phldrT="[Text]"/>
      <dgm:spPr/>
      <dgm:t>
        <a:bodyPr/>
        <a:lstStyle/>
        <a:p>
          <a:r>
            <a:rPr lang="en-US" dirty="0" smtClean="0"/>
            <a:t>USER Application</a:t>
          </a:r>
          <a:endParaRPr lang="en-US" dirty="0"/>
        </a:p>
      </dgm:t>
    </dgm:pt>
    <dgm:pt modelId="{1799EB3C-DA19-44D4-A1E6-0FA32951E24B}" type="parTrans" cxnId="{EC9EDB6F-9714-4AD4-89DD-EBCD38F0799A}">
      <dgm:prSet/>
      <dgm:spPr/>
      <dgm:t>
        <a:bodyPr/>
        <a:lstStyle/>
        <a:p>
          <a:endParaRPr lang="en-US" dirty="0"/>
        </a:p>
      </dgm:t>
    </dgm:pt>
    <dgm:pt modelId="{52D72FE8-8245-4A6D-9F66-8592CB16B39E}" type="sibTrans" cxnId="{EC9EDB6F-9714-4AD4-89DD-EBCD38F0799A}">
      <dgm:prSet/>
      <dgm:spPr/>
      <dgm:t>
        <a:bodyPr/>
        <a:lstStyle/>
        <a:p>
          <a:endParaRPr lang="en-US"/>
        </a:p>
      </dgm:t>
    </dgm:pt>
    <dgm:pt modelId="{17AB8A0D-C441-4F75-AC89-50AE7EAA3799}">
      <dgm:prSet phldrT="[Text]"/>
      <dgm:spPr/>
      <dgm:t>
        <a:bodyPr/>
        <a:lstStyle/>
        <a:p>
          <a:r>
            <a:rPr lang="en-US" dirty="0" smtClean="0"/>
            <a:t>Linux Kernel </a:t>
          </a:r>
          <a:endParaRPr lang="en-US" dirty="0"/>
        </a:p>
      </dgm:t>
    </dgm:pt>
    <dgm:pt modelId="{62481817-F739-4E66-BB27-C744FDBC2D6D}" type="parTrans" cxnId="{A103B6EC-636B-4DB3-BDAE-A37EED4D98AB}">
      <dgm:prSet/>
      <dgm:spPr/>
      <dgm:t>
        <a:bodyPr/>
        <a:lstStyle/>
        <a:p>
          <a:endParaRPr lang="en-US" dirty="0"/>
        </a:p>
      </dgm:t>
    </dgm:pt>
    <dgm:pt modelId="{00344C43-2183-4465-9361-229AC62FD053}" type="sibTrans" cxnId="{A103B6EC-636B-4DB3-BDAE-A37EED4D98AB}">
      <dgm:prSet/>
      <dgm:spPr/>
      <dgm:t>
        <a:bodyPr/>
        <a:lstStyle/>
        <a:p>
          <a:endParaRPr lang="en-US"/>
        </a:p>
      </dgm:t>
    </dgm:pt>
    <dgm:pt modelId="{5826C839-AEB4-425B-AD34-DCDCB995AE86}">
      <dgm:prSet phldrT="[Text]"/>
      <dgm:spPr/>
      <dgm:t>
        <a:bodyPr/>
        <a:lstStyle/>
        <a:p>
          <a:r>
            <a:rPr lang="en-US" dirty="0" smtClean="0"/>
            <a:t>Hardware Controller</a:t>
          </a:r>
          <a:endParaRPr lang="en-US" dirty="0"/>
        </a:p>
      </dgm:t>
    </dgm:pt>
    <dgm:pt modelId="{54319978-9014-4D45-B48F-6EC33E288897}" type="parTrans" cxnId="{0C0A0CFD-1EFC-4E72-896B-2665B4BEB5AA}">
      <dgm:prSet/>
      <dgm:spPr/>
      <dgm:t>
        <a:bodyPr/>
        <a:lstStyle/>
        <a:p>
          <a:endParaRPr lang="en-US" dirty="0"/>
        </a:p>
      </dgm:t>
    </dgm:pt>
    <dgm:pt modelId="{05B858DB-8492-4B53-8152-E5E896B20DE5}" type="sibTrans" cxnId="{0C0A0CFD-1EFC-4E72-896B-2665B4BEB5AA}">
      <dgm:prSet/>
      <dgm:spPr/>
      <dgm:t>
        <a:bodyPr/>
        <a:lstStyle/>
        <a:p>
          <a:endParaRPr lang="en-US"/>
        </a:p>
      </dgm:t>
    </dgm:pt>
    <dgm:pt modelId="{8A849E06-0B50-4AC8-8281-E3B6D47953A2}" type="pres">
      <dgm:prSet presAssocID="{E789426A-5260-40E6-8115-ACCCDD54440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9785FAB-08E8-4433-97CB-3DACD2EB519D}" type="pres">
      <dgm:prSet presAssocID="{334ED455-8D5E-4D30-9193-FC0104F126C2}" presName="centerShape" presStyleLbl="node0" presStyleIdx="0" presStyleCnt="1" custScaleX="109132" custScaleY="121457"/>
      <dgm:spPr/>
      <dgm:t>
        <a:bodyPr/>
        <a:lstStyle/>
        <a:p>
          <a:endParaRPr lang="en-US"/>
        </a:p>
      </dgm:t>
    </dgm:pt>
    <dgm:pt modelId="{60413264-A758-4ED8-9205-058B092C5516}" type="pres">
      <dgm:prSet presAssocID="{DCADD2B7-3928-46C5-A104-E5AC6CA3A77B}" presName="parTrans" presStyleLbl="sibTrans2D1" presStyleIdx="0" presStyleCnt="4"/>
      <dgm:spPr/>
      <dgm:t>
        <a:bodyPr/>
        <a:lstStyle/>
        <a:p>
          <a:endParaRPr lang="en-US"/>
        </a:p>
      </dgm:t>
    </dgm:pt>
    <dgm:pt modelId="{13C296FA-3601-4EBD-87AD-1921D9B05F49}" type="pres">
      <dgm:prSet presAssocID="{DCADD2B7-3928-46C5-A104-E5AC6CA3A77B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A8B3F084-C609-41DF-B7A5-B3D696D8E9F8}" type="pres">
      <dgm:prSet presAssocID="{53A4B96A-F180-4B49-AFD2-94DB7FFB9C9B}" presName="node" presStyleLbl="node1" presStyleIdx="0" presStyleCnt="4" custScaleX="126890" custScaleY="1110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D6C9F3-8D91-4C6C-A11D-3D346290ACE1}" type="pres">
      <dgm:prSet presAssocID="{1799EB3C-DA19-44D4-A1E6-0FA32951E24B}" presName="parTrans" presStyleLbl="sibTrans2D1" presStyleIdx="1" presStyleCnt="4"/>
      <dgm:spPr/>
      <dgm:t>
        <a:bodyPr/>
        <a:lstStyle/>
        <a:p>
          <a:endParaRPr lang="en-US"/>
        </a:p>
      </dgm:t>
    </dgm:pt>
    <dgm:pt modelId="{2611BBFA-0640-43D6-A7CD-6D8759B40B2D}" type="pres">
      <dgm:prSet presAssocID="{1799EB3C-DA19-44D4-A1E6-0FA32951E24B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1C81B57A-A34B-4DC2-BF49-77828593C166}" type="pres">
      <dgm:prSet presAssocID="{72011C4C-F70C-4059-8361-9E634F17734A}" presName="node" presStyleLbl="node1" presStyleIdx="1" presStyleCnt="4" custScaleX="135515" custScaleY="121457" custRadScaleRad="122568" custRadScaleInc="11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BE43BE-98E9-4AE5-A36E-C4F98A061C56}" type="pres">
      <dgm:prSet presAssocID="{62481817-F739-4E66-BB27-C744FDBC2D6D}" presName="parTrans" presStyleLbl="sibTrans2D1" presStyleIdx="2" presStyleCnt="4"/>
      <dgm:spPr/>
      <dgm:t>
        <a:bodyPr/>
        <a:lstStyle/>
        <a:p>
          <a:endParaRPr lang="en-US"/>
        </a:p>
      </dgm:t>
    </dgm:pt>
    <dgm:pt modelId="{C046D02B-D7EA-421B-9B7D-1DDB3484F2BF}" type="pres">
      <dgm:prSet presAssocID="{62481817-F739-4E66-BB27-C744FDBC2D6D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6D790799-C1A6-4912-A471-85393B0ED93D}" type="pres">
      <dgm:prSet presAssocID="{17AB8A0D-C441-4F75-AC89-50AE7EAA3799}" presName="node" presStyleLbl="node1" presStyleIdx="2" presStyleCnt="4" custScaleX="120574" custScaleY="107732" custRadScaleRad="116720" custRadScaleInc="-26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15B3A4-12E2-481B-BE90-498DFD692BAD}" type="pres">
      <dgm:prSet presAssocID="{54319978-9014-4D45-B48F-6EC33E288897}" presName="parTrans" presStyleLbl="sibTrans2D1" presStyleIdx="3" presStyleCnt="4"/>
      <dgm:spPr/>
      <dgm:t>
        <a:bodyPr/>
        <a:lstStyle/>
        <a:p>
          <a:endParaRPr lang="en-US"/>
        </a:p>
      </dgm:t>
    </dgm:pt>
    <dgm:pt modelId="{D5A6DA9D-BFE4-40C1-B134-4858F3585E5A}" type="pres">
      <dgm:prSet presAssocID="{54319978-9014-4D45-B48F-6EC33E288897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9325D8EB-F374-45FF-B488-BDF1EC5AC75D}" type="pres">
      <dgm:prSet presAssocID="{5826C839-AEB4-425B-AD34-DCDCB995AE86}" presName="node" presStyleLbl="node1" presStyleIdx="3" presStyleCnt="4" custScaleX="142832" custScaleY="121457" custRadScaleRad="116410" custRadScaleInc="-12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C587864-12A2-488C-BC50-6E7887D9C39F}" type="presOf" srcId="{5826C839-AEB4-425B-AD34-DCDCB995AE86}" destId="{9325D8EB-F374-45FF-B488-BDF1EC5AC75D}" srcOrd="0" destOrd="0" presId="urn:microsoft.com/office/officeart/2005/8/layout/radial5"/>
    <dgm:cxn modelId="{0C0A0CFD-1EFC-4E72-896B-2665B4BEB5AA}" srcId="{334ED455-8D5E-4D30-9193-FC0104F126C2}" destId="{5826C839-AEB4-425B-AD34-DCDCB995AE86}" srcOrd="3" destOrd="0" parTransId="{54319978-9014-4D45-B48F-6EC33E288897}" sibTransId="{05B858DB-8492-4B53-8152-E5E896B20DE5}"/>
    <dgm:cxn modelId="{2F421ED9-C0E8-42E4-A0FD-588397A7770E}" srcId="{E789426A-5260-40E6-8115-ACCCDD54440D}" destId="{334ED455-8D5E-4D30-9193-FC0104F126C2}" srcOrd="0" destOrd="0" parTransId="{767C9D20-A977-478A-8E57-801CA4993677}" sibTransId="{2BA8ADF3-CB38-4133-8DCC-6EF5D09E5862}"/>
    <dgm:cxn modelId="{375B46DF-B308-4024-97C8-526A1F8D0D73}" type="presOf" srcId="{62481817-F739-4E66-BB27-C744FDBC2D6D}" destId="{C046D02B-D7EA-421B-9B7D-1DDB3484F2BF}" srcOrd="1" destOrd="0" presId="urn:microsoft.com/office/officeart/2005/8/layout/radial5"/>
    <dgm:cxn modelId="{76848582-0F85-4DF7-922A-931406B2EDE5}" type="presOf" srcId="{72011C4C-F70C-4059-8361-9E634F17734A}" destId="{1C81B57A-A34B-4DC2-BF49-77828593C166}" srcOrd="0" destOrd="0" presId="urn:microsoft.com/office/officeart/2005/8/layout/radial5"/>
    <dgm:cxn modelId="{EC9EDB6F-9714-4AD4-89DD-EBCD38F0799A}" srcId="{334ED455-8D5E-4D30-9193-FC0104F126C2}" destId="{72011C4C-F70C-4059-8361-9E634F17734A}" srcOrd="1" destOrd="0" parTransId="{1799EB3C-DA19-44D4-A1E6-0FA32951E24B}" sibTransId="{52D72FE8-8245-4A6D-9F66-8592CB16B39E}"/>
    <dgm:cxn modelId="{E731E8E8-6A1B-46AB-B944-2EE9295FE585}" type="presOf" srcId="{DCADD2B7-3928-46C5-A104-E5AC6CA3A77B}" destId="{60413264-A758-4ED8-9205-058B092C5516}" srcOrd="0" destOrd="0" presId="urn:microsoft.com/office/officeart/2005/8/layout/radial5"/>
    <dgm:cxn modelId="{FC57060C-1D14-4FBE-A7A9-557F7D3A6D57}" type="presOf" srcId="{17AB8A0D-C441-4F75-AC89-50AE7EAA3799}" destId="{6D790799-C1A6-4912-A471-85393B0ED93D}" srcOrd="0" destOrd="0" presId="urn:microsoft.com/office/officeart/2005/8/layout/radial5"/>
    <dgm:cxn modelId="{9E7CEFB5-606C-4A82-9B75-2CA3DC0E22AA}" type="presOf" srcId="{53A4B96A-F180-4B49-AFD2-94DB7FFB9C9B}" destId="{A8B3F084-C609-41DF-B7A5-B3D696D8E9F8}" srcOrd="0" destOrd="0" presId="urn:microsoft.com/office/officeart/2005/8/layout/radial5"/>
    <dgm:cxn modelId="{00D2FA10-9E97-4010-8AC9-429182CAB5EE}" type="presOf" srcId="{334ED455-8D5E-4D30-9193-FC0104F126C2}" destId="{49785FAB-08E8-4433-97CB-3DACD2EB519D}" srcOrd="0" destOrd="0" presId="urn:microsoft.com/office/officeart/2005/8/layout/radial5"/>
    <dgm:cxn modelId="{A103B6EC-636B-4DB3-BDAE-A37EED4D98AB}" srcId="{334ED455-8D5E-4D30-9193-FC0104F126C2}" destId="{17AB8A0D-C441-4F75-AC89-50AE7EAA3799}" srcOrd="2" destOrd="0" parTransId="{62481817-F739-4E66-BB27-C744FDBC2D6D}" sibTransId="{00344C43-2183-4465-9361-229AC62FD053}"/>
    <dgm:cxn modelId="{F79C3AC1-3536-443A-A25D-D6F8CB5C105A}" type="presOf" srcId="{DCADD2B7-3928-46C5-A104-E5AC6CA3A77B}" destId="{13C296FA-3601-4EBD-87AD-1921D9B05F49}" srcOrd="1" destOrd="0" presId="urn:microsoft.com/office/officeart/2005/8/layout/radial5"/>
    <dgm:cxn modelId="{B283548F-502E-4F1F-8BCE-0C6A530FF24A}" type="presOf" srcId="{62481817-F739-4E66-BB27-C744FDBC2D6D}" destId="{97BE43BE-98E9-4AE5-A36E-C4F98A061C56}" srcOrd="0" destOrd="0" presId="urn:microsoft.com/office/officeart/2005/8/layout/radial5"/>
    <dgm:cxn modelId="{9619B515-F6F5-481B-9142-356B3CD87D58}" type="presOf" srcId="{1799EB3C-DA19-44D4-A1E6-0FA32951E24B}" destId="{5FD6C9F3-8D91-4C6C-A11D-3D346290ACE1}" srcOrd="0" destOrd="0" presId="urn:microsoft.com/office/officeart/2005/8/layout/radial5"/>
    <dgm:cxn modelId="{AF1C2FF3-310A-488C-8B10-4BCE2F0DD056}" type="presOf" srcId="{54319978-9014-4D45-B48F-6EC33E288897}" destId="{8A15B3A4-12E2-481B-BE90-498DFD692BAD}" srcOrd="0" destOrd="0" presId="urn:microsoft.com/office/officeart/2005/8/layout/radial5"/>
    <dgm:cxn modelId="{AB9B6A7C-7F89-4175-99D4-607B769E41B2}" srcId="{334ED455-8D5E-4D30-9193-FC0104F126C2}" destId="{53A4B96A-F180-4B49-AFD2-94DB7FFB9C9B}" srcOrd="0" destOrd="0" parTransId="{DCADD2B7-3928-46C5-A104-E5AC6CA3A77B}" sibTransId="{35308576-4DC1-4E93-85EF-19784D39007C}"/>
    <dgm:cxn modelId="{BE7F5C3F-AC20-428D-973C-88C1F469168B}" type="presOf" srcId="{E789426A-5260-40E6-8115-ACCCDD54440D}" destId="{8A849E06-0B50-4AC8-8281-E3B6D47953A2}" srcOrd="0" destOrd="0" presId="urn:microsoft.com/office/officeart/2005/8/layout/radial5"/>
    <dgm:cxn modelId="{C073A692-AAC6-4812-A8D6-4974A07475A1}" type="presOf" srcId="{1799EB3C-DA19-44D4-A1E6-0FA32951E24B}" destId="{2611BBFA-0640-43D6-A7CD-6D8759B40B2D}" srcOrd="1" destOrd="0" presId="urn:microsoft.com/office/officeart/2005/8/layout/radial5"/>
    <dgm:cxn modelId="{257BAB38-6DEB-48AF-8CAD-23E1DD77E6B8}" type="presOf" srcId="{54319978-9014-4D45-B48F-6EC33E288897}" destId="{D5A6DA9D-BFE4-40C1-B134-4858F3585E5A}" srcOrd="1" destOrd="0" presId="urn:microsoft.com/office/officeart/2005/8/layout/radial5"/>
    <dgm:cxn modelId="{0894CD85-8EDA-44BF-A9B5-1EA44F4E7380}" type="presParOf" srcId="{8A849E06-0B50-4AC8-8281-E3B6D47953A2}" destId="{49785FAB-08E8-4433-97CB-3DACD2EB519D}" srcOrd="0" destOrd="0" presId="urn:microsoft.com/office/officeart/2005/8/layout/radial5"/>
    <dgm:cxn modelId="{0D2CB37E-6507-446E-B8AE-9C72679C1BA0}" type="presParOf" srcId="{8A849E06-0B50-4AC8-8281-E3B6D47953A2}" destId="{60413264-A758-4ED8-9205-058B092C5516}" srcOrd="1" destOrd="0" presId="urn:microsoft.com/office/officeart/2005/8/layout/radial5"/>
    <dgm:cxn modelId="{99ACD579-4E0E-4F70-84E3-00471D2510FE}" type="presParOf" srcId="{60413264-A758-4ED8-9205-058B092C5516}" destId="{13C296FA-3601-4EBD-87AD-1921D9B05F49}" srcOrd="0" destOrd="0" presId="urn:microsoft.com/office/officeart/2005/8/layout/radial5"/>
    <dgm:cxn modelId="{D5C782CA-AEDA-42D7-AC5C-623419241672}" type="presParOf" srcId="{8A849E06-0B50-4AC8-8281-E3B6D47953A2}" destId="{A8B3F084-C609-41DF-B7A5-B3D696D8E9F8}" srcOrd="2" destOrd="0" presId="urn:microsoft.com/office/officeart/2005/8/layout/radial5"/>
    <dgm:cxn modelId="{D2D1C87E-1505-45EF-BB66-439E7C99B60C}" type="presParOf" srcId="{8A849E06-0B50-4AC8-8281-E3B6D47953A2}" destId="{5FD6C9F3-8D91-4C6C-A11D-3D346290ACE1}" srcOrd="3" destOrd="0" presId="urn:microsoft.com/office/officeart/2005/8/layout/radial5"/>
    <dgm:cxn modelId="{D93F1F29-6418-4590-86B6-F70CC26814B5}" type="presParOf" srcId="{5FD6C9F3-8D91-4C6C-A11D-3D346290ACE1}" destId="{2611BBFA-0640-43D6-A7CD-6D8759B40B2D}" srcOrd="0" destOrd="0" presId="urn:microsoft.com/office/officeart/2005/8/layout/radial5"/>
    <dgm:cxn modelId="{70EE71E1-6497-41D0-A802-B8A2233B6776}" type="presParOf" srcId="{8A849E06-0B50-4AC8-8281-E3B6D47953A2}" destId="{1C81B57A-A34B-4DC2-BF49-77828593C166}" srcOrd="4" destOrd="0" presId="urn:microsoft.com/office/officeart/2005/8/layout/radial5"/>
    <dgm:cxn modelId="{EFADF79D-2F3F-45AA-81EA-C7D10F44FC4C}" type="presParOf" srcId="{8A849E06-0B50-4AC8-8281-E3B6D47953A2}" destId="{97BE43BE-98E9-4AE5-A36E-C4F98A061C56}" srcOrd="5" destOrd="0" presId="urn:microsoft.com/office/officeart/2005/8/layout/radial5"/>
    <dgm:cxn modelId="{FDD0FFF5-0E05-450D-97AF-E4101C9F198E}" type="presParOf" srcId="{97BE43BE-98E9-4AE5-A36E-C4F98A061C56}" destId="{C046D02B-D7EA-421B-9B7D-1DDB3484F2BF}" srcOrd="0" destOrd="0" presId="urn:microsoft.com/office/officeart/2005/8/layout/radial5"/>
    <dgm:cxn modelId="{2C52EBD7-9244-4771-8BA5-6519CAEFAABA}" type="presParOf" srcId="{8A849E06-0B50-4AC8-8281-E3B6D47953A2}" destId="{6D790799-C1A6-4912-A471-85393B0ED93D}" srcOrd="6" destOrd="0" presId="urn:microsoft.com/office/officeart/2005/8/layout/radial5"/>
    <dgm:cxn modelId="{EC4D5665-E1C9-4B24-98BD-E42E0ADCBBB0}" type="presParOf" srcId="{8A849E06-0B50-4AC8-8281-E3B6D47953A2}" destId="{8A15B3A4-12E2-481B-BE90-498DFD692BAD}" srcOrd="7" destOrd="0" presId="urn:microsoft.com/office/officeart/2005/8/layout/radial5"/>
    <dgm:cxn modelId="{3437B1D7-0AA0-4790-BC5C-11DF0793C898}" type="presParOf" srcId="{8A15B3A4-12E2-481B-BE90-498DFD692BAD}" destId="{D5A6DA9D-BFE4-40C1-B134-4858F3585E5A}" srcOrd="0" destOrd="0" presId="urn:microsoft.com/office/officeart/2005/8/layout/radial5"/>
    <dgm:cxn modelId="{D055E9CC-8794-4770-9E75-0FC9A49014F3}" type="presParOf" srcId="{8A849E06-0B50-4AC8-8281-E3B6D47953A2}" destId="{9325D8EB-F374-45FF-B488-BDF1EC5AC75D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B89EEA0-3005-47B6-B7D1-4ADEA05CC9A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A3D23F6B-6253-4973-B8E4-8790EF206CDD}">
      <dgm:prSet/>
      <dgm:spPr/>
      <dgm:t>
        <a:bodyPr/>
        <a:lstStyle/>
        <a:p>
          <a:pPr algn="ctr" rtl="0"/>
          <a:r>
            <a:rPr lang="en-US" dirty="0" smtClean="0"/>
            <a:t>Integrity problems</a:t>
          </a:r>
          <a:endParaRPr lang="en-US" dirty="0"/>
        </a:p>
      </dgm:t>
    </dgm:pt>
    <dgm:pt modelId="{F041B6F4-93AD-4482-984A-21E68FD685D8}" type="parTrans" cxnId="{C4C58566-A038-465A-91DB-998D8C2176BF}">
      <dgm:prSet/>
      <dgm:spPr/>
      <dgm:t>
        <a:bodyPr/>
        <a:lstStyle/>
        <a:p>
          <a:endParaRPr lang="en-US"/>
        </a:p>
      </dgm:t>
    </dgm:pt>
    <dgm:pt modelId="{51C03B14-8C43-46E6-89FB-9B1C7132BD42}" type="sibTrans" cxnId="{C4C58566-A038-465A-91DB-998D8C2176BF}">
      <dgm:prSet/>
      <dgm:spPr/>
      <dgm:t>
        <a:bodyPr/>
        <a:lstStyle/>
        <a:p>
          <a:endParaRPr lang="en-US"/>
        </a:p>
      </dgm:t>
    </dgm:pt>
    <dgm:pt modelId="{27F1CB78-7B42-4A63-9A7F-33D00D50CD9D}" type="pres">
      <dgm:prSet presAssocID="{FB89EEA0-3005-47B6-B7D1-4ADEA05CC9A8}" presName="linear" presStyleCnt="0">
        <dgm:presLayoutVars>
          <dgm:animLvl val="lvl"/>
          <dgm:resizeHandles val="exact"/>
        </dgm:presLayoutVars>
      </dgm:prSet>
      <dgm:spPr/>
    </dgm:pt>
    <dgm:pt modelId="{3E7A8635-CE56-47EF-B490-D5DDB7A2249C}" type="pres">
      <dgm:prSet presAssocID="{A3D23F6B-6253-4973-B8E4-8790EF206CDD}" presName="parentText" presStyleLbl="node1" presStyleIdx="0" presStyleCnt="1" custLinFactNeighborX="5455" custLinFactNeighborY="-13876">
        <dgm:presLayoutVars>
          <dgm:chMax val="0"/>
          <dgm:bulletEnabled val="1"/>
        </dgm:presLayoutVars>
      </dgm:prSet>
      <dgm:spPr/>
    </dgm:pt>
  </dgm:ptLst>
  <dgm:cxnLst>
    <dgm:cxn modelId="{EAACE10E-1E33-40F6-BA7D-82228333B894}" type="presOf" srcId="{FB89EEA0-3005-47B6-B7D1-4ADEA05CC9A8}" destId="{27F1CB78-7B42-4A63-9A7F-33D00D50CD9D}" srcOrd="0" destOrd="0" presId="urn:microsoft.com/office/officeart/2005/8/layout/vList2"/>
    <dgm:cxn modelId="{EC67AC41-39BC-4A9D-BC25-764A9C0E5ABC}" type="presOf" srcId="{A3D23F6B-6253-4973-B8E4-8790EF206CDD}" destId="{3E7A8635-CE56-47EF-B490-D5DDB7A2249C}" srcOrd="0" destOrd="0" presId="urn:microsoft.com/office/officeart/2005/8/layout/vList2"/>
    <dgm:cxn modelId="{C4C58566-A038-465A-91DB-998D8C2176BF}" srcId="{FB89EEA0-3005-47B6-B7D1-4ADEA05CC9A8}" destId="{A3D23F6B-6253-4973-B8E4-8790EF206CDD}" srcOrd="0" destOrd="0" parTransId="{F041B6F4-93AD-4482-984A-21E68FD685D8}" sibTransId="{51C03B14-8C43-46E6-89FB-9B1C7132BD42}"/>
    <dgm:cxn modelId="{8C14A7B4-372C-442D-9667-C6D40F6AF27B}" type="presParOf" srcId="{27F1CB78-7B42-4A63-9A7F-33D00D50CD9D}" destId="{3E7A8635-CE56-47EF-B490-D5DDB7A2249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D4296F7-3147-42F1-9118-390B7471586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5BD75F67-6B47-4581-B580-12A5B1EC4043}">
      <dgm:prSet/>
      <dgm:spPr/>
      <dgm:t>
        <a:bodyPr/>
        <a:lstStyle/>
        <a:p>
          <a:pPr algn="ctr" rtl="0"/>
          <a:r>
            <a:rPr lang="en-US" dirty="0" smtClean="0"/>
            <a:t>Concurrent access</a:t>
          </a:r>
          <a:endParaRPr lang="en-US" dirty="0"/>
        </a:p>
      </dgm:t>
    </dgm:pt>
    <dgm:pt modelId="{907D1C9C-C114-410D-ADF8-00E8197D5629}" type="parTrans" cxnId="{D60E4A4D-C839-4161-B310-DBB18A5D6473}">
      <dgm:prSet/>
      <dgm:spPr/>
      <dgm:t>
        <a:bodyPr/>
        <a:lstStyle/>
        <a:p>
          <a:endParaRPr lang="en-US"/>
        </a:p>
      </dgm:t>
    </dgm:pt>
    <dgm:pt modelId="{F7A19CDC-7204-42B0-8FA4-BE027227C4FE}" type="sibTrans" cxnId="{D60E4A4D-C839-4161-B310-DBB18A5D6473}">
      <dgm:prSet/>
      <dgm:spPr/>
      <dgm:t>
        <a:bodyPr/>
        <a:lstStyle/>
        <a:p>
          <a:endParaRPr lang="en-US"/>
        </a:p>
      </dgm:t>
    </dgm:pt>
    <dgm:pt modelId="{CB7CDDC2-604A-4C62-8E1C-2C2DC8009A19}" type="pres">
      <dgm:prSet presAssocID="{AD4296F7-3147-42F1-9118-390B74715860}" presName="linear" presStyleCnt="0">
        <dgm:presLayoutVars>
          <dgm:animLvl val="lvl"/>
          <dgm:resizeHandles val="exact"/>
        </dgm:presLayoutVars>
      </dgm:prSet>
      <dgm:spPr/>
    </dgm:pt>
    <dgm:pt modelId="{AD4C9F8A-FD67-4728-AAC7-E0E2E201E1D3}" type="pres">
      <dgm:prSet presAssocID="{5BD75F67-6B47-4581-B580-12A5B1EC4043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C6B27DDC-4BCD-42CA-A521-A420DB5B859F}" type="presOf" srcId="{5BD75F67-6B47-4581-B580-12A5B1EC4043}" destId="{AD4C9F8A-FD67-4728-AAC7-E0E2E201E1D3}" srcOrd="0" destOrd="0" presId="urn:microsoft.com/office/officeart/2005/8/layout/vList2"/>
    <dgm:cxn modelId="{68718B19-A2C5-4B2C-A3B3-2F20C470E8CF}" type="presOf" srcId="{AD4296F7-3147-42F1-9118-390B74715860}" destId="{CB7CDDC2-604A-4C62-8E1C-2C2DC8009A19}" srcOrd="0" destOrd="0" presId="urn:microsoft.com/office/officeart/2005/8/layout/vList2"/>
    <dgm:cxn modelId="{D60E4A4D-C839-4161-B310-DBB18A5D6473}" srcId="{AD4296F7-3147-42F1-9118-390B74715860}" destId="{5BD75F67-6B47-4581-B580-12A5B1EC4043}" srcOrd="0" destOrd="0" parTransId="{907D1C9C-C114-410D-ADF8-00E8197D5629}" sibTransId="{F7A19CDC-7204-42B0-8FA4-BE027227C4FE}"/>
    <dgm:cxn modelId="{CB169901-543B-4F12-819C-8A76F7F2624D}" type="presParOf" srcId="{CB7CDDC2-604A-4C62-8E1C-2C2DC8009A19}" destId="{AD4C9F8A-FD67-4728-AAC7-E0E2E201E1D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EEAE0EC-C26F-4DC5-A41A-698826DD714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E8E296CA-5C31-4DCB-BCED-AE281C7AEAC1}">
      <dgm:prSet/>
      <dgm:spPr/>
      <dgm:t>
        <a:bodyPr/>
        <a:lstStyle/>
        <a:p>
          <a:pPr algn="ctr" rtl="0"/>
          <a:r>
            <a:rPr lang="en-US" dirty="0" smtClean="0"/>
            <a:t>Data redundancy</a:t>
          </a:r>
          <a:endParaRPr lang="en-US" dirty="0"/>
        </a:p>
      </dgm:t>
    </dgm:pt>
    <dgm:pt modelId="{7A92ABFF-84D8-48BE-930D-3626222798BF}" type="parTrans" cxnId="{C85DC860-2B45-4144-AD61-86C43528B7FF}">
      <dgm:prSet/>
      <dgm:spPr/>
      <dgm:t>
        <a:bodyPr/>
        <a:lstStyle/>
        <a:p>
          <a:endParaRPr lang="en-US"/>
        </a:p>
      </dgm:t>
    </dgm:pt>
    <dgm:pt modelId="{E13362AD-1612-4989-BFC3-35C069DBA6A8}" type="sibTrans" cxnId="{C85DC860-2B45-4144-AD61-86C43528B7FF}">
      <dgm:prSet/>
      <dgm:spPr/>
      <dgm:t>
        <a:bodyPr/>
        <a:lstStyle/>
        <a:p>
          <a:endParaRPr lang="en-US"/>
        </a:p>
      </dgm:t>
    </dgm:pt>
    <dgm:pt modelId="{98ECFD05-814B-4C12-B7EB-E2FF17F6BA84}" type="pres">
      <dgm:prSet presAssocID="{AEEAE0EC-C26F-4DC5-A41A-698826DD714C}" presName="linear" presStyleCnt="0">
        <dgm:presLayoutVars>
          <dgm:animLvl val="lvl"/>
          <dgm:resizeHandles val="exact"/>
        </dgm:presLayoutVars>
      </dgm:prSet>
      <dgm:spPr/>
    </dgm:pt>
    <dgm:pt modelId="{08D96BD7-958B-4FAE-BA0C-3D56CEBC2C26}" type="pres">
      <dgm:prSet presAssocID="{E8E296CA-5C31-4DCB-BCED-AE281C7AEAC1}" presName="parentText" presStyleLbl="node1" presStyleIdx="0" presStyleCnt="1" custLinFactNeighborX="12281" custLinFactNeighborY="-1328">
        <dgm:presLayoutVars>
          <dgm:chMax val="0"/>
          <dgm:bulletEnabled val="1"/>
        </dgm:presLayoutVars>
      </dgm:prSet>
      <dgm:spPr/>
    </dgm:pt>
  </dgm:ptLst>
  <dgm:cxnLst>
    <dgm:cxn modelId="{C85DC860-2B45-4144-AD61-86C43528B7FF}" srcId="{AEEAE0EC-C26F-4DC5-A41A-698826DD714C}" destId="{E8E296CA-5C31-4DCB-BCED-AE281C7AEAC1}" srcOrd="0" destOrd="0" parTransId="{7A92ABFF-84D8-48BE-930D-3626222798BF}" sibTransId="{E13362AD-1612-4989-BFC3-35C069DBA6A8}"/>
    <dgm:cxn modelId="{51752CAA-A81D-41C0-B31B-58D011F5986B}" type="presOf" srcId="{E8E296CA-5C31-4DCB-BCED-AE281C7AEAC1}" destId="{08D96BD7-958B-4FAE-BA0C-3D56CEBC2C26}" srcOrd="0" destOrd="0" presId="urn:microsoft.com/office/officeart/2005/8/layout/vList2"/>
    <dgm:cxn modelId="{314A1F1C-AEE7-4DA4-8550-39846C941DB9}" type="presOf" srcId="{AEEAE0EC-C26F-4DC5-A41A-698826DD714C}" destId="{98ECFD05-814B-4C12-B7EB-E2FF17F6BA84}" srcOrd="0" destOrd="0" presId="urn:microsoft.com/office/officeart/2005/8/layout/vList2"/>
    <dgm:cxn modelId="{0E3C74BF-F1C0-4D92-BD6E-E5F2FECAEE3A}" type="presParOf" srcId="{98ECFD05-814B-4C12-B7EB-E2FF17F6BA84}" destId="{08D96BD7-958B-4FAE-BA0C-3D56CEBC2C2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C5412DF-A7A3-46F2-B8DF-D619D57AC27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7D52FF92-EC72-4794-B210-16B211B35E93}">
      <dgm:prSet/>
      <dgm:spPr/>
      <dgm:t>
        <a:bodyPr/>
        <a:lstStyle/>
        <a:p>
          <a:pPr algn="ctr" rtl="0"/>
          <a:r>
            <a:rPr lang="en-US" dirty="0" smtClean="0"/>
            <a:t>Data Inconsistency</a:t>
          </a:r>
          <a:endParaRPr lang="en-US" dirty="0"/>
        </a:p>
      </dgm:t>
    </dgm:pt>
    <dgm:pt modelId="{567FB5BB-E215-4F9C-AB5C-23CEF40376F2}" type="parTrans" cxnId="{8B24936A-212D-4482-A7EB-F3D003A208F2}">
      <dgm:prSet/>
      <dgm:spPr/>
      <dgm:t>
        <a:bodyPr/>
        <a:lstStyle/>
        <a:p>
          <a:endParaRPr lang="en-US"/>
        </a:p>
      </dgm:t>
    </dgm:pt>
    <dgm:pt modelId="{EE447131-FCB8-4658-9903-78FEA968020E}" type="sibTrans" cxnId="{8B24936A-212D-4482-A7EB-F3D003A208F2}">
      <dgm:prSet/>
      <dgm:spPr/>
      <dgm:t>
        <a:bodyPr/>
        <a:lstStyle/>
        <a:p>
          <a:endParaRPr lang="en-US"/>
        </a:p>
      </dgm:t>
    </dgm:pt>
    <dgm:pt modelId="{9DB83CE8-8236-4CDD-A2C9-0517A54E5735}" type="pres">
      <dgm:prSet presAssocID="{6C5412DF-A7A3-46F2-B8DF-D619D57AC278}" presName="linear" presStyleCnt="0">
        <dgm:presLayoutVars>
          <dgm:animLvl val="lvl"/>
          <dgm:resizeHandles val="exact"/>
        </dgm:presLayoutVars>
      </dgm:prSet>
      <dgm:spPr/>
    </dgm:pt>
    <dgm:pt modelId="{66104D9C-B9FC-4F67-BF9A-57636F446B3E}" type="pres">
      <dgm:prSet presAssocID="{7D52FF92-EC72-4794-B210-16B211B35E93}" presName="parentText" presStyleLbl="node1" presStyleIdx="0" presStyleCnt="1" custLinFactNeighborX="9091" custLinFactNeighborY="-61921">
        <dgm:presLayoutVars>
          <dgm:chMax val="0"/>
          <dgm:bulletEnabled val="1"/>
        </dgm:presLayoutVars>
      </dgm:prSet>
      <dgm:spPr/>
    </dgm:pt>
  </dgm:ptLst>
  <dgm:cxnLst>
    <dgm:cxn modelId="{D765CCB5-BB56-48FE-8F2D-336FAFDB65B7}" type="presOf" srcId="{7D52FF92-EC72-4794-B210-16B211B35E93}" destId="{66104D9C-B9FC-4F67-BF9A-57636F446B3E}" srcOrd="0" destOrd="0" presId="urn:microsoft.com/office/officeart/2005/8/layout/vList2"/>
    <dgm:cxn modelId="{8B24936A-212D-4482-A7EB-F3D003A208F2}" srcId="{6C5412DF-A7A3-46F2-B8DF-D619D57AC278}" destId="{7D52FF92-EC72-4794-B210-16B211B35E93}" srcOrd="0" destOrd="0" parTransId="{567FB5BB-E215-4F9C-AB5C-23CEF40376F2}" sibTransId="{EE447131-FCB8-4658-9903-78FEA968020E}"/>
    <dgm:cxn modelId="{5613A238-58DD-493C-A277-662E93A78A01}" type="presOf" srcId="{6C5412DF-A7A3-46F2-B8DF-D619D57AC278}" destId="{9DB83CE8-8236-4CDD-A2C9-0517A54E5735}" srcOrd="0" destOrd="0" presId="urn:microsoft.com/office/officeart/2005/8/layout/vList2"/>
    <dgm:cxn modelId="{EAA47A10-909D-4F8E-847F-2566DA06595B}" type="presParOf" srcId="{9DB83CE8-8236-4CDD-A2C9-0517A54E5735}" destId="{66104D9C-B9FC-4F67-BF9A-57636F446B3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FE9D60B6-05D7-4F24-8641-063DBFA2B3A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07D2890B-AFB3-4F2B-822C-7E02BD2B82BE}">
      <dgm:prSet/>
      <dgm:spPr/>
      <dgm:t>
        <a:bodyPr/>
        <a:lstStyle/>
        <a:p>
          <a:pPr algn="ctr" rtl="0"/>
          <a:r>
            <a:rPr lang="en-US" dirty="0" smtClean="0"/>
            <a:t>Atomicity Problems</a:t>
          </a:r>
          <a:endParaRPr lang="en-US" dirty="0"/>
        </a:p>
      </dgm:t>
    </dgm:pt>
    <dgm:pt modelId="{E7806F7D-91ED-4361-BA35-59A20525585E}" type="parTrans" cxnId="{E7E47A45-7E7C-44AB-933F-EA4A2EC42CCE}">
      <dgm:prSet/>
      <dgm:spPr/>
      <dgm:t>
        <a:bodyPr/>
        <a:lstStyle/>
        <a:p>
          <a:endParaRPr lang="en-US"/>
        </a:p>
      </dgm:t>
    </dgm:pt>
    <dgm:pt modelId="{553C6E03-069B-47F5-B511-4E1B30A149AD}" type="sibTrans" cxnId="{E7E47A45-7E7C-44AB-933F-EA4A2EC42CCE}">
      <dgm:prSet/>
      <dgm:spPr/>
      <dgm:t>
        <a:bodyPr/>
        <a:lstStyle/>
        <a:p>
          <a:endParaRPr lang="en-US"/>
        </a:p>
      </dgm:t>
    </dgm:pt>
    <dgm:pt modelId="{BBD45374-2C62-4B81-BD85-D31170D8FF77}" type="pres">
      <dgm:prSet presAssocID="{FE9D60B6-05D7-4F24-8641-063DBFA2B3A4}" presName="linear" presStyleCnt="0">
        <dgm:presLayoutVars>
          <dgm:animLvl val="lvl"/>
          <dgm:resizeHandles val="exact"/>
        </dgm:presLayoutVars>
      </dgm:prSet>
      <dgm:spPr/>
    </dgm:pt>
    <dgm:pt modelId="{868C9E7C-7E43-4359-90C4-6D0CC8404608}" type="pres">
      <dgm:prSet presAssocID="{07D2890B-AFB3-4F2B-822C-7E02BD2B82BE}" presName="parentText" presStyleLbl="node1" presStyleIdx="0" presStyleCnt="1" custLinFactNeighborX="-17" custLinFactNeighborY="-62830">
        <dgm:presLayoutVars>
          <dgm:chMax val="0"/>
          <dgm:bulletEnabled val="1"/>
        </dgm:presLayoutVars>
      </dgm:prSet>
      <dgm:spPr/>
    </dgm:pt>
  </dgm:ptLst>
  <dgm:cxnLst>
    <dgm:cxn modelId="{D92F9936-066F-4D2A-990D-984B1F696995}" type="presOf" srcId="{07D2890B-AFB3-4F2B-822C-7E02BD2B82BE}" destId="{868C9E7C-7E43-4359-90C4-6D0CC8404608}" srcOrd="0" destOrd="0" presId="urn:microsoft.com/office/officeart/2005/8/layout/vList2"/>
    <dgm:cxn modelId="{E7E47A45-7E7C-44AB-933F-EA4A2EC42CCE}" srcId="{FE9D60B6-05D7-4F24-8641-063DBFA2B3A4}" destId="{07D2890B-AFB3-4F2B-822C-7E02BD2B82BE}" srcOrd="0" destOrd="0" parTransId="{E7806F7D-91ED-4361-BA35-59A20525585E}" sibTransId="{553C6E03-069B-47F5-B511-4E1B30A149AD}"/>
    <dgm:cxn modelId="{EC670CED-F71F-42EA-B01C-86DDE1FA8DA0}" type="presOf" srcId="{FE9D60B6-05D7-4F24-8641-063DBFA2B3A4}" destId="{BBD45374-2C62-4B81-BD85-D31170D8FF77}" srcOrd="0" destOrd="0" presId="urn:microsoft.com/office/officeart/2005/8/layout/vList2"/>
    <dgm:cxn modelId="{352C456C-719D-49E3-883E-1526626EA76B}" type="presParOf" srcId="{BBD45374-2C62-4B81-BD85-D31170D8FF77}" destId="{868C9E7C-7E43-4359-90C4-6D0CC840460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2061092C-5436-4462-BC4C-AFB06591792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832F0867-DD9C-4681-89D8-16423BDF647B}">
      <dgm:prSet/>
      <dgm:spPr/>
      <dgm:t>
        <a:bodyPr/>
        <a:lstStyle/>
        <a:p>
          <a:pPr algn="ctr" rtl="0"/>
          <a:r>
            <a:rPr lang="en-US" dirty="0" smtClean="0"/>
            <a:t>Inconsistency</a:t>
          </a:r>
          <a:endParaRPr lang="en-US" dirty="0"/>
        </a:p>
      </dgm:t>
    </dgm:pt>
    <dgm:pt modelId="{3ACA68D6-D0DE-4F10-8705-45F23CF805C2}" type="parTrans" cxnId="{ED5DC51B-51E9-4B52-A808-5CCE1E5336DE}">
      <dgm:prSet/>
      <dgm:spPr/>
      <dgm:t>
        <a:bodyPr/>
        <a:lstStyle/>
        <a:p>
          <a:endParaRPr lang="en-US"/>
        </a:p>
      </dgm:t>
    </dgm:pt>
    <dgm:pt modelId="{5D174A36-33FC-4963-AAF7-FAA5D5A4A6BA}" type="sibTrans" cxnId="{ED5DC51B-51E9-4B52-A808-5CCE1E5336DE}">
      <dgm:prSet/>
      <dgm:spPr/>
      <dgm:t>
        <a:bodyPr/>
        <a:lstStyle/>
        <a:p>
          <a:endParaRPr lang="en-US"/>
        </a:p>
      </dgm:t>
    </dgm:pt>
    <dgm:pt modelId="{97CDDF52-E491-4C93-A1E3-D7FD8DCAB877}" type="pres">
      <dgm:prSet presAssocID="{2061092C-5436-4462-BC4C-AFB06591792C}" presName="linear" presStyleCnt="0">
        <dgm:presLayoutVars>
          <dgm:animLvl val="lvl"/>
          <dgm:resizeHandles val="exact"/>
        </dgm:presLayoutVars>
      </dgm:prSet>
      <dgm:spPr/>
    </dgm:pt>
    <dgm:pt modelId="{E00E3D8A-2D37-4455-96E4-CE78290E219E}" type="pres">
      <dgm:prSet presAssocID="{832F0867-DD9C-4681-89D8-16423BDF647B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B182A2EE-48C7-4AB3-9F15-7BEF5CB91E6F}" type="presOf" srcId="{832F0867-DD9C-4681-89D8-16423BDF647B}" destId="{E00E3D8A-2D37-4455-96E4-CE78290E219E}" srcOrd="0" destOrd="0" presId="urn:microsoft.com/office/officeart/2005/8/layout/vList2"/>
    <dgm:cxn modelId="{79DD0783-FFEA-4BAB-937A-7FC2DBE13F06}" type="presOf" srcId="{2061092C-5436-4462-BC4C-AFB06591792C}" destId="{97CDDF52-E491-4C93-A1E3-D7FD8DCAB877}" srcOrd="0" destOrd="0" presId="urn:microsoft.com/office/officeart/2005/8/layout/vList2"/>
    <dgm:cxn modelId="{ED5DC51B-51E9-4B52-A808-5CCE1E5336DE}" srcId="{2061092C-5436-4462-BC4C-AFB06591792C}" destId="{832F0867-DD9C-4681-89D8-16423BDF647B}" srcOrd="0" destOrd="0" parTransId="{3ACA68D6-D0DE-4F10-8705-45F23CF805C2}" sibTransId="{5D174A36-33FC-4963-AAF7-FAA5D5A4A6BA}"/>
    <dgm:cxn modelId="{46040D42-BC68-4B3B-BF34-E870F307853B}" type="presParOf" srcId="{97CDDF52-E491-4C93-A1E3-D7FD8DCAB877}" destId="{E00E3D8A-2D37-4455-96E4-CE78290E219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A98CC964-C64D-4F7D-9F2D-3C687C30520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58FF03E4-60EF-4BAA-BD50-2EC24CF78474}">
      <dgm:prSet/>
      <dgm:spPr/>
      <dgm:t>
        <a:bodyPr/>
        <a:lstStyle/>
        <a:p>
          <a:pPr algn="ctr" rtl="0"/>
          <a:r>
            <a:rPr lang="en-US" dirty="0" smtClean="0"/>
            <a:t>Integrity</a:t>
          </a:r>
          <a:endParaRPr lang="en-US" dirty="0"/>
        </a:p>
      </dgm:t>
    </dgm:pt>
    <dgm:pt modelId="{168F7B6A-C478-421B-ACE7-6BB0969884E5}" type="parTrans" cxnId="{5BC618DD-BB40-4D29-87B5-566E5F2B51E6}">
      <dgm:prSet/>
      <dgm:spPr/>
      <dgm:t>
        <a:bodyPr/>
        <a:lstStyle/>
        <a:p>
          <a:endParaRPr lang="en-US"/>
        </a:p>
      </dgm:t>
    </dgm:pt>
    <dgm:pt modelId="{9598FD56-FB21-4067-8586-407AE97D502F}" type="sibTrans" cxnId="{5BC618DD-BB40-4D29-87B5-566E5F2B51E6}">
      <dgm:prSet/>
      <dgm:spPr/>
      <dgm:t>
        <a:bodyPr/>
        <a:lstStyle/>
        <a:p>
          <a:endParaRPr lang="en-US"/>
        </a:p>
      </dgm:t>
    </dgm:pt>
    <dgm:pt modelId="{A18625DB-F9EF-42B2-B7D2-A37FCBEA88C8}" type="pres">
      <dgm:prSet presAssocID="{A98CC964-C64D-4F7D-9F2D-3C687C305203}" presName="linear" presStyleCnt="0">
        <dgm:presLayoutVars>
          <dgm:animLvl val="lvl"/>
          <dgm:resizeHandles val="exact"/>
        </dgm:presLayoutVars>
      </dgm:prSet>
      <dgm:spPr/>
    </dgm:pt>
    <dgm:pt modelId="{5784AF36-886F-4F8E-B299-BFFED737A39E}" type="pres">
      <dgm:prSet presAssocID="{58FF03E4-60EF-4BAA-BD50-2EC24CF78474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5D93278F-2535-42EF-B106-C3192843899B}" type="presOf" srcId="{58FF03E4-60EF-4BAA-BD50-2EC24CF78474}" destId="{5784AF36-886F-4F8E-B299-BFFED737A39E}" srcOrd="0" destOrd="0" presId="urn:microsoft.com/office/officeart/2005/8/layout/vList2"/>
    <dgm:cxn modelId="{5BC618DD-BB40-4D29-87B5-566E5F2B51E6}" srcId="{A98CC964-C64D-4F7D-9F2D-3C687C305203}" destId="{58FF03E4-60EF-4BAA-BD50-2EC24CF78474}" srcOrd="0" destOrd="0" parTransId="{168F7B6A-C478-421B-ACE7-6BB0969884E5}" sibTransId="{9598FD56-FB21-4067-8586-407AE97D502F}"/>
    <dgm:cxn modelId="{67A3F0F8-F085-4C51-9270-C404F4504F68}" type="presOf" srcId="{A98CC964-C64D-4F7D-9F2D-3C687C305203}" destId="{A18625DB-F9EF-42B2-B7D2-A37FCBEA88C8}" srcOrd="0" destOrd="0" presId="urn:microsoft.com/office/officeart/2005/8/layout/vList2"/>
    <dgm:cxn modelId="{BB960BDD-58FA-4481-A0DF-7D849AD9DC6B}" type="presParOf" srcId="{A18625DB-F9EF-42B2-B7D2-A37FCBEA88C8}" destId="{5784AF36-886F-4F8E-B299-BFFED737A39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C8235E1F-93E6-41A2-81F2-5054C34675F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A951C84B-17D0-4C32-8D99-6D0AAD039650}">
      <dgm:prSet/>
      <dgm:spPr/>
      <dgm:t>
        <a:bodyPr/>
        <a:lstStyle/>
        <a:p>
          <a:pPr algn="ctr" rtl="0"/>
          <a:r>
            <a:rPr lang="en-US" dirty="0" smtClean="0"/>
            <a:t>Recovery services</a:t>
          </a:r>
          <a:endParaRPr lang="en-US" dirty="0"/>
        </a:p>
      </dgm:t>
    </dgm:pt>
    <dgm:pt modelId="{C89A8B3A-620B-437E-B985-1524446F1311}" type="parTrans" cxnId="{BD1633A9-875A-418E-A518-E63EAB6EC7E8}">
      <dgm:prSet/>
      <dgm:spPr/>
      <dgm:t>
        <a:bodyPr/>
        <a:lstStyle/>
        <a:p>
          <a:endParaRPr lang="en-US"/>
        </a:p>
      </dgm:t>
    </dgm:pt>
    <dgm:pt modelId="{069CA4C7-C222-4221-86D1-C72E88AE635C}" type="sibTrans" cxnId="{BD1633A9-875A-418E-A518-E63EAB6EC7E8}">
      <dgm:prSet/>
      <dgm:spPr/>
      <dgm:t>
        <a:bodyPr/>
        <a:lstStyle/>
        <a:p>
          <a:endParaRPr lang="en-US"/>
        </a:p>
      </dgm:t>
    </dgm:pt>
    <dgm:pt modelId="{FB4968F2-7AF1-48C2-9684-03A4B5C65B2D}" type="pres">
      <dgm:prSet presAssocID="{C8235E1F-93E6-41A2-81F2-5054C34675FF}" presName="linear" presStyleCnt="0">
        <dgm:presLayoutVars>
          <dgm:animLvl val="lvl"/>
          <dgm:resizeHandles val="exact"/>
        </dgm:presLayoutVars>
      </dgm:prSet>
      <dgm:spPr/>
    </dgm:pt>
    <dgm:pt modelId="{120A7E13-5BA6-4137-9B5C-B6A0232509BE}" type="pres">
      <dgm:prSet presAssocID="{A951C84B-17D0-4C32-8D99-6D0AAD039650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8E66AEBF-A6AC-48D3-A4F7-ED58FDBF4F26}" type="presOf" srcId="{C8235E1F-93E6-41A2-81F2-5054C34675FF}" destId="{FB4968F2-7AF1-48C2-9684-03A4B5C65B2D}" srcOrd="0" destOrd="0" presId="urn:microsoft.com/office/officeart/2005/8/layout/vList2"/>
    <dgm:cxn modelId="{B50C9F08-AE25-4079-B6C4-EE691DEABBD5}" type="presOf" srcId="{A951C84B-17D0-4C32-8D99-6D0AAD039650}" destId="{120A7E13-5BA6-4137-9B5C-B6A0232509BE}" srcOrd="0" destOrd="0" presId="urn:microsoft.com/office/officeart/2005/8/layout/vList2"/>
    <dgm:cxn modelId="{BD1633A9-875A-418E-A518-E63EAB6EC7E8}" srcId="{C8235E1F-93E6-41A2-81F2-5054C34675FF}" destId="{A951C84B-17D0-4C32-8D99-6D0AAD039650}" srcOrd="0" destOrd="0" parTransId="{C89A8B3A-620B-437E-B985-1524446F1311}" sibTransId="{069CA4C7-C222-4221-86D1-C72E88AE635C}"/>
    <dgm:cxn modelId="{850B23AA-B650-4B5F-BF8C-EC729DC2D2F4}" type="presParOf" srcId="{FB4968F2-7AF1-48C2-9684-03A4B5C65B2D}" destId="{120A7E13-5BA6-4137-9B5C-B6A0232509B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F2613756-85A6-477F-82F5-4EC2E41F317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E7CF062E-53AA-4ACC-B1AF-1DFBEC83A4F1}">
      <dgm:prSet/>
      <dgm:spPr/>
      <dgm:t>
        <a:bodyPr/>
        <a:lstStyle/>
        <a:p>
          <a:pPr algn="ctr" rtl="0"/>
          <a:r>
            <a:rPr lang="en-US" dirty="0" smtClean="0"/>
            <a:t>Controlling Redundancy</a:t>
          </a:r>
          <a:endParaRPr lang="en-US" dirty="0"/>
        </a:p>
      </dgm:t>
    </dgm:pt>
    <dgm:pt modelId="{C028206D-EF03-41DE-A9D5-089A73CCF42B}" type="parTrans" cxnId="{B6FCA45A-4598-4C2F-B321-B17E9CDD1B14}">
      <dgm:prSet/>
      <dgm:spPr/>
      <dgm:t>
        <a:bodyPr/>
        <a:lstStyle/>
        <a:p>
          <a:endParaRPr lang="en-US"/>
        </a:p>
      </dgm:t>
    </dgm:pt>
    <dgm:pt modelId="{E599FC5A-23AA-4387-812B-73F0DFB85855}" type="sibTrans" cxnId="{B6FCA45A-4598-4C2F-B321-B17E9CDD1B14}">
      <dgm:prSet/>
      <dgm:spPr/>
      <dgm:t>
        <a:bodyPr/>
        <a:lstStyle/>
        <a:p>
          <a:endParaRPr lang="en-US"/>
        </a:p>
      </dgm:t>
    </dgm:pt>
    <dgm:pt modelId="{AB789016-1C99-4A5C-9293-A621ED639EE1}" type="pres">
      <dgm:prSet presAssocID="{F2613756-85A6-477F-82F5-4EC2E41F317C}" presName="linear" presStyleCnt="0">
        <dgm:presLayoutVars>
          <dgm:animLvl val="lvl"/>
          <dgm:resizeHandles val="exact"/>
        </dgm:presLayoutVars>
      </dgm:prSet>
      <dgm:spPr/>
    </dgm:pt>
    <dgm:pt modelId="{0921CF6D-1A60-48ED-B7EC-51D4CD9995A3}" type="pres">
      <dgm:prSet presAssocID="{E7CF062E-53AA-4ACC-B1AF-1DFBEC83A4F1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596BDF79-0C35-4C65-922B-5B7CF68F16F2}" type="presOf" srcId="{F2613756-85A6-477F-82F5-4EC2E41F317C}" destId="{AB789016-1C99-4A5C-9293-A621ED639EE1}" srcOrd="0" destOrd="0" presId="urn:microsoft.com/office/officeart/2005/8/layout/vList2"/>
    <dgm:cxn modelId="{1E2A613D-0336-4470-812E-8F45638F2B79}" type="presOf" srcId="{E7CF062E-53AA-4ACC-B1AF-1DFBEC83A4F1}" destId="{0921CF6D-1A60-48ED-B7EC-51D4CD9995A3}" srcOrd="0" destOrd="0" presId="urn:microsoft.com/office/officeart/2005/8/layout/vList2"/>
    <dgm:cxn modelId="{B6FCA45A-4598-4C2F-B321-B17E9CDD1B14}" srcId="{F2613756-85A6-477F-82F5-4EC2E41F317C}" destId="{E7CF062E-53AA-4ACC-B1AF-1DFBEC83A4F1}" srcOrd="0" destOrd="0" parTransId="{C028206D-EF03-41DE-A9D5-089A73CCF42B}" sibTransId="{E599FC5A-23AA-4387-812B-73F0DFB85855}"/>
    <dgm:cxn modelId="{2CD54176-5FD2-44EA-B1E3-C2007839117A}" type="presParOf" srcId="{AB789016-1C99-4A5C-9293-A621ED639EE1}" destId="{0921CF6D-1A60-48ED-B7EC-51D4CD9995A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811BC24A-EF9F-48FB-9616-AFCC27F098DB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7DEEE5FC-0736-4B81-89C8-98A5C0C9B066}">
      <dgm:prSet/>
      <dgm:spPr/>
      <dgm:t>
        <a:bodyPr/>
        <a:lstStyle/>
        <a:p>
          <a:pPr rtl="0"/>
          <a:r>
            <a:rPr lang="en-US" dirty="0" smtClean="0"/>
            <a:t>Restricting unauthorized access</a:t>
          </a:r>
          <a:endParaRPr lang="en-US" dirty="0"/>
        </a:p>
      </dgm:t>
    </dgm:pt>
    <dgm:pt modelId="{EF85E242-0203-4D15-9CA9-FFAEBA603D8E}" type="parTrans" cxnId="{785B9631-AA30-46CA-B7F5-D4BA1F34410E}">
      <dgm:prSet/>
      <dgm:spPr/>
      <dgm:t>
        <a:bodyPr/>
        <a:lstStyle/>
        <a:p>
          <a:endParaRPr lang="en-US"/>
        </a:p>
      </dgm:t>
    </dgm:pt>
    <dgm:pt modelId="{9799F7FE-4567-49D9-9FD1-A3B52763775B}" type="sibTrans" cxnId="{785B9631-AA30-46CA-B7F5-D4BA1F34410E}">
      <dgm:prSet/>
      <dgm:spPr/>
      <dgm:t>
        <a:bodyPr/>
        <a:lstStyle/>
        <a:p>
          <a:endParaRPr lang="en-US"/>
        </a:p>
      </dgm:t>
    </dgm:pt>
    <dgm:pt modelId="{1902D06E-C000-4595-8CBC-F538745A651C}" type="pres">
      <dgm:prSet presAssocID="{811BC24A-EF9F-48FB-9616-AFCC27F098DB}" presName="linear" presStyleCnt="0">
        <dgm:presLayoutVars>
          <dgm:animLvl val="lvl"/>
          <dgm:resizeHandles val="exact"/>
        </dgm:presLayoutVars>
      </dgm:prSet>
      <dgm:spPr/>
    </dgm:pt>
    <dgm:pt modelId="{91239242-1E93-47C1-95AC-73576CE34002}" type="pres">
      <dgm:prSet presAssocID="{7DEEE5FC-0736-4B81-89C8-98A5C0C9B066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3755D6AC-5AEA-4A7A-AADF-FF28BA8779B2}" type="presOf" srcId="{7DEEE5FC-0736-4B81-89C8-98A5C0C9B066}" destId="{91239242-1E93-47C1-95AC-73576CE34002}" srcOrd="0" destOrd="0" presId="urn:microsoft.com/office/officeart/2005/8/layout/vList2"/>
    <dgm:cxn modelId="{DC0AEAA8-0356-401C-94EA-652647E832D3}" type="presOf" srcId="{811BC24A-EF9F-48FB-9616-AFCC27F098DB}" destId="{1902D06E-C000-4595-8CBC-F538745A651C}" srcOrd="0" destOrd="0" presId="urn:microsoft.com/office/officeart/2005/8/layout/vList2"/>
    <dgm:cxn modelId="{785B9631-AA30-46CA-B7F5-D4BA1F34410E}" srcId="{811BC24A-EF9F-48FB-9616-AFCC27F098DB}" destId="{7DEEE5FC-0736-4B81-89C8-98A5C0C9B066}" srcOrd="0" destOrd="0" parTransId="{EF85E242-0203-4D15-9CA9-FFAEBA603D8E}" sibTransId="{9799F7FE-4567-49D9-9FD1-A3B52763775B}"/>
    <dgm:cxn modelId="{9F59BC00-070C-48C4-BE66-71010BA248D2}" type="presParOf" srcId="{1902D06E-C000-4595-8CBC-F538745A651C}" destId="{91239242-1E93-47C1-95AC-73576CE3400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237E9A5-F1EA-49E1-A0EB-A9D5468B0C04}" type="doc">
      <dgm:prSet loTypeId="urn:microsoft.com/office/officeart/2005/8/layout/cycle7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17AAD96-7A4D-4A9D-8F48-36B4D2B19815}">
      <dgm:prSet phldrT="[Text]"/>
      <dgm:spPr/>
      <dgm:t>
        <a:bodyPr/>
        <a:lstStyle/>
        <a:p>
          <a:r>
            <a:rPr lang="en-US" dirty="0" smtClean="0"/>
            <a:t>Device Management</a:t>
          </a:r>
          <a:endParaRPr lang="en-US" dirty="0"/>
        </a:p>
      </dgm:t>
    </dgm:pt>
    <dgm:pt modelId="{BC892D52-F849-4294-A53E-92FEC9648B29}" type="parTrans" cxnId="{9512C65D-1C01-43E5-9AE3-C6A1660D6A46}">
      <dgm:prSet/>
      <dgm:spPr/>
      <dgm:t>
        <a:bodyPr/>
        <a:lstStyle/>
        <a:p>
          <a:endParaRPr lang="en-US"/>
        </a:p>
      </dgm:t>
    </dgm:pt>
    <dgm:pt modelId="{58035D62-9D8E-4380-944A-F46D0FB4ED28}" type="sibTrans" cxnId="{9512C65D-1C01-43E5-9AE3-C6A1660D6A46}">
      <dgm:prSet/>
      <dgm:spPr/>
      <dgm:t>
        <a:bodyPr/>
        <a:lstStyle/>
        <a:p>
          <a:endParaRPr lang="en-US"/>
        </a:p>
      </dgm:t>
    </dgm:pt>
    <dgm:pt modelId="{CB354A0C-A3D8-4DE8-BD12-976DB95B1AE0}">
      <dgm:prSet phldrT="[Text]"/>
      <dgm:spPr/>
      <dgm:t>
        <a:bodyPr/>
        <a:lstStyle/>
        <a:p>
          <a:r>
            <a:rPr lang="en-US" dirty="0" smtClean="0"/>
            <a:t>Block Device</a:t>
          </a:r>
          <a:endParaRPr lang="en-US" dirty="0"/>
        </a:p>
      </dgm:t>
    </dgm:pt>
    <dgm:pt modelId="{42DB07BF-C8EC-43D0-95B6-BC8ED5ACB830}" type="parTrans" cxnId="{BCA38A6F-68EC-4522-A9D9-D4B0E720482F}">
      <dgm:prSet/>
      <dgm:spPr/>
      <dgm:t>
        <a:bodyPr/>
        <a:lstStyle/>
        <a:p>
          <a:endParaRPr lang="en-US"/>
        </a:p>
      </dgm:t>
    </dgm:pt>
    <dgm:pt modelId="{121D2DED-F16D-4CE5-AFF8-121E53A6967D}" type="sibTrans" cxnId="{BCA38A6F-68EC-4522-A9D9-D4B0E720482F}">
      <dgm:prSet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94662588-A443-44CE-AE80-AAC1DED9DB16}">
      <dgm:prSet phldrT="[Text]"/>
      <dgm:spPr/>
      <dgm:t>
        <a:bodyPr/>
        <a:lstStyle/>
        <a:p>
          <a:r>
            <a:rPr lang="en-US" dirty="0" smtClean="0"/>
            <a:t>Character Device </a:t>
          </a:r>
          <a:endParaRPr lang="en-US" dirty="0"/>
        </a:p>
      </dgm:t>
    </dgm:pt>
    <dgm:pt modelId="{650789A4-6ABC-4CE8-AA6E-AD048D7C59D2}" type="parTrans" cxnId="{878787B0-C90C-46E6-A0EC-1FC125520E0F}">
      <dgm:prSet/>
      <dgm:spPr/>
      <dgm:t>
        <a:bodyPr/>
        <a:lstStyle/>
        <a:p>
          <a:endParaRPr lang="en-US"/>
        </a:p>
      </dgm:t>
    </dgm:pt>
    <dgm:pt modelId="{3F314AC3-F325-4CD2-91A4-AD2D8E2D691D}" type="sibTrans" cxnId="{878787B0-C90C-46E6-A0EC-1FC125520E0F}">
      <dgm:prSet/>
      <dgm:spPr/>
      <dgm:t>
        <a:bodyPr/>
        <a:lstStyle/>
        <a:p>
          <a:endParaRPr lang="en-US"/>
        </a:p>
      </dgm:t>
    </dgm:pt>
    <dgm:pt modelId="{85467EF4-85AA-476E-8A58-07E2B58C7C15}" type="pres">
      <dgm:prSet presAssocID="{9237E9A5-F1EA-49E1-A0EB-A9D5468B0C0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DE51143-86F1-4CDB-88E9-6664EC088D2B}" type="pres">
      <dgm:prSet presAssocID="{717AAD96-7A4D-4A9D-8F48-36B4D2B19815}" presName="node" presStyleLbl="node1" presStyleIdx="0" presStyleCnt="3" custScaleX="1278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2E88C2-FD69-4465-8EEB-821CF1B16D5A}" type="pres">
      <dgm:prSet presAssocID="{58035D62-9D8E-4380-944A-F46D0FB4ED28}" presName="sibTrans" presStyleLbl="sibTrans2D1" presStyleIdx="0" presStyleCnt="3" custScaleX="265846" custScaleY="114121"/>
      <dgm:spPr/>
      <dgm:t>
        <a:bodyPr/>
        <a:lstStyle/>
        <a:p>
          <a:endParaRPr lang="en-US"/>
        </a:p>
      </dgm:t>
    </dgm:pt>
    <dgm:pt modelId="{A730B558-FCCC-433D-83C0-F5DD6F1291E5}" type="pres">
      <dgm:prSet presAssocID="{58035D62-9D8E-4380-944A-F46D0FB4ED28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65788452-4BE9-49FD-A139-51284C668080}" type="pres">
      <dgm:prSet presAssocID="{CB354A0C-A3D8-4DE8-BD12-976DB95B1AE0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F24591-C92F-4D28-BB99-E3D217AE926C}" type="pres">
      <dgm:prSet presAssocID="{121D2DED-F16D-4CE5-AFF8-121E53A6967D}" presName="sibTrans" presStyleLbl="sibTrans2D1" presStyleIdx="1" presStyleCnt="3"/>
      <dgm:spPr/>
      <dgm:t>
        <a:bodyPr/>
        <a:lstStyle/>
        <a:p>
          <a:endParaRPr lang="en-US"/>
        </a:p>
      </dgm:t>
    </dgm:pt>
    <dgm:pt modelId="{B6E7C64C-977C-4D53-B0FF-93AAC91C6349}" type="pres">
      <dgm:prSet presAssocID="{121D2DED-F16D-4CE5-AFF8-121E53A6967D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AAEE297A-253E-409B-8C98-AF40FA47262A}" type="pres">
      <dgm:prSet presAssocID="{94662588-A443-44CE-AE80-AAC1DED9DB16}" presName="node" presStyleLbl="node1" presStyleIdx="2" presStyleCnt="3" custScaleX="1430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B033CE0-6666-4782-B805-6F90415335CB}" type="pres">
      <dgm:prSet presAssocID="{3F314AC3-F325-4CD2-91A4-AD2D8E2D691D}" presName="sibTrans" presStyleLbl="sibTrans2D1" presStyleIdx="2" presStyleCnt="3" custScaleX="256492" custScaleY="92813"/>
      <dgm:spPr/>
      <dgm:t>
        <a:bodyPr/>
        <a:lstStyle/>
        <a:p>
          <a:endParaRPr lang="en-US"/>
        </a:p>
      </dgm:t>
    </dgm:pt>
    <dgm:pt modelId="{ADB7F65F-F7A4-426D-A905-9A7B987FA094}" type="pres">
      <dgm:prSet presAssocID="{3F314AC3-F325-4CD2-91A4-AD2D8E2D691D}" presName="connectorText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C6272CE8-AAC9-4C8F-BE5E-6E80677A4A3B}" type="presOf" srcId="{CB354A0C-A3D8-4DE8-BD12-976DB95B1AE0}" destId="{65788452-4BE9-49FD-A139-51284C668080}" srcOrd="0" destOrd="0" presId="urn:microsoft.com/office/officeart/2005/8/layout/cycle7"/>
    <dgm:cxn modelId="{06EF746A-DD15-49F2-BF93-2D94846D0B07}" type="presOf" srcId="{9237E9A5-F1EA-49E1-A0EB-A9D5468B0C04}" destId="{85467EF4-85AA-476E-8A58-07E2B58C7C15}" srcOrd="0" destOrd="0" presId="urn:microsoft.com/office/officeart/2005/8/layout/cycle7"/>
    <dgm:cxn modelId="{878787B0-C90C-46E6-A0EC-1FC125520E0F}" srcId="{9237E9A5-F1EA-49E1-A0EB-A9D5468B0C04}" destId="{94662588-A443-44CE-AE80-AAC1DED9DB16}" srcOrd="2" destOrd="0" parTransId="{650789A4-6ABC-4CE8-AA6E-AD048D7C59D2}" sibTransId="{3F314AC3-F325-4CD2-91A4-AD2D8E2D691D}"/>
    <dgm:cxn modelId="{BCA38A6F-68EC-4522-A9D9-D4B0E720482F}" srcId="{9237E9A5-F1EA-49E1-A0EB-A9D5468B0C04}" destId="{CB354A0C-A3D8-4DE8-BD12-976DB95B1AE0}" srcOrd="1" destOrd="0" parTransId="{42DB07BF-C8EC-43D0-95B6-BC8ED5ACB830}" sibTransId="{121D2DED-F16D-4CE5-AFF8-121E53A6967D}"/>
    <dgm:cxn modelId="{CC257CCD-08F6-4181-AE9A-45108ABD05FD}" type="presOf" srcId="{121D2DED-F16D-4CE5-AFF8-121E53A6967D}" destId="{10F24591-C92F-4D28-BB99-E3D217AE926C}" srcOrd="0" destOrd="0" presId="urn:microsoft.com/office/officeart/2005/8/layout/cycle7"/>
    <dgm:cxn modelId="{72CC103F-6A98-446B-81DF-14C9ED7155D3}" type="presOf" srcId="{121D2DED-F16D-4CE5-AFF8-121E53A6967D}" destId="{B6E7C64C-977C-4D53-B0FF-93AAC91C6349}" srcOrd="1" destOrd="0" presId="urn:microsoft.com/office/officeart/2005/8/layout/cycle7"/>
    <dgm:cxn modelId="{470B7388-4AB6-431C-9569-D54D775D3253}" type="presOf" srcId="{58035D62-9D8E-4380-944A-F46D0FB4ED28}" destId="{4D2E88C2-FD69-4465-8EEB-821CF1B16D5A}" srcOrd="0" destOrd="0" presId="urn:microsoft.com/office/officeart/2005/8/layout/cycle7"/>
    <dgm:cxn modelId="{17CF0D37-EE54-4F66-B4DC-5122384BAF90}" type="presOf" srcId="{717AAD96-7A4D-4A9D-8F48-36B4D2B19815}" destId="{8DE51143-86F1-4CDB-88E9-6664EC088D2B}" srcOrd="0" destOrd="0" presId="urn:microsoft.com/office/officeart/2005/8/layout/cycle7"/>
    <dgm:cxn modelId="{A2B6E8F4-0A2E-4B93-8206-7A64FF412E1B}" type="presOf" srcId="{94662588-A443-44CE-AE80-AAC1DED9DB16}" destId="{AAEE297A-253E-409B-8C98-AF40FA47262A}" srcOrd="0" destOrd="0" presId="urn:microsoft.com/office/officeart/2005/8/layout/cycle7"/>
    <dgm:cxn modelId="{60F87222-8378-4FC8-B3BC-DC7D5BC07D0B}" type="presOf" srcId="{3F314AC3-F325-4CD2-91A4-AD2D8E2D691D}" destId="{CB033CE0-6666-4782-B805-6F90415335CB}" srcOrd="0" destOrd="0" presId="urn:microsoft.com/office/officeart/2005/8/layout/cycle7"/>
    <dgm:cxn modelId="{C0D23BA4-1163-481C-A4EF-06FB18C7E486}" type="presOf" srcId="{3F314AC3-F325-4CD2-91A4-AD2D8E2D691D}" destId="{ADB7F65F-F7A4-426D-A905-9A7B987FA094}" srcOrd="1" destOrd="0" presId="urn:microsoft.com/office/officeart/2005/8/layout/cycle7"/>
    <dgm:cxn modelId="{9512C65D-1C01-43E5-9AE3-C6A1660D6A46}" srcId="{9237E9A5-F1EA-49E1-A0EB-A9D5468B0C04}" destId="{717AAD96-7A4D-4A9D-8F48-36B4D2B19815}" srcOrd="0" destOrd="0" parTransId="{BC892D52-F849-4294-A53E-92FEC9648B29}" sibTransId="{58035D62-9D8E-4380-944A-F46D0FB4ED28}"/>
    <dgm:cxn modelId="{947C195C-0B4D-4172-99F3-3DF3F189DA2C}" type="presOf" srcId="{58035D62-9D8E-4380-944A-F46D0FB4ED28}" destId="{A730B558-FCCC-433D-83C0-F5DD6F1291E5}" srcOrd="1" destOrd="0" presId="urn:microsoft.com/office/officeart/2005/8/layout/cycle7"/>
    <dgm:cxn modelId="{492553D7-CF4A-44A6-8784-E72FA36CEB0B}" type="presParOf" srcId="{85467EF4-85AA-476E-8A58-07E2B58C7C15}" destId="{8DE51143-86F1-4CDB-88E9-6664EC088D2B}" srcOrd="0" destOrd="0" presId="urn:microsoft.com/office/officeart/2005/8/layout/cycle7"/>
    <dgm:cxn modelId="{A15B7578-9E4F-495E-B4D2-FD21EBD64AC3}" type="presParOf" srcId="{85467EF4-85AA-476E-8A58-07E2B58C7C15}" destId="{4D2E88C2-FD69-4465-8EEB-821CF1B16D5A}" srcOrd="1" destOrd="0" presId="urn:microsoft.com/office/officeart/2005/8/layout/cycle7"/>
    <dgm:cxn modelId="{8B500479-09AB-48B7-AA50-89E4C3C45B1E}" type="presParOf" srcId="{4D2E88C2-FD69-4465-8EEB-821CF1B16D5A}" destId="{A730B558-FCCC-433D-83C0-F5DD6F1291E5}" srcOrd="0" destOrd="0" presId="urn:microsoft.com/office/officeart/2005/8/layout/cycle7"/>
    <dgm:cxn modelId="{CD16C67D-7D5C-4632-BEF3-FCD000032CD8}" type="presParOf" srcId="{85467EF4-85AA-476E-8A58-07E2B58C7C15}" destId="{65788452-4BE9-49FD-A139-51284C668080}" srcOrd="2" destOrd="0" presId="urn:microsoft.com/office/officeart/2005/8/layout/cycle7"/>
    <dgm:cxn modelId="{B69A76E9-72ED-4CDE-84E3-81233AB27AFD}" type="presParOf" srcId="{85467EF4-85AA-476E-8A58-07E2B58C7C15}" destId="{10F24591-C92F-4D28-BB99-E3D217AE926C}" srcOrd="3" destOrd="0" presId="urn:microsoft.com/office/officeart/2005/8/layout/cycle7"/>
    <dgm:cxn modelId="{A922ABFB-6A3C-48DB-ACA8-3E3BA6F9E1C8}" type="presParOf" srcId="{10F24591-C92F-4D28-BB99-E3D217AE926C}" destId="{B6E7C64C-977C-4D53-B0FF-93AAC91C6349}" srcOrd="0" destOrd="0" presId="urn:microsoft.com/office/officeart/2005/8/layout/cycle7"/>
    <dgm:cxn modelId="{E3F905C5-FDC8-43EF-8F0A-56319A109205}" type="presParOf" srcId="{85467EF4-85AA-476E-8A58-07E2B58C7C15}" destId="{AAEE297A-253E-409B-8C98-AF40FA47262A}" srcOrd="4" destOrd="0" presId="urn:microsoft.com/office/officeart/2005/8/layout/cycle7"/>
    <dgm:cxn modelId="{BC83322F-D816-4035-9E2C-A19536935895}" type="presParOf" srcId="{85467EF4-85AA-476E-8A58-07E2B58C7C15}" destId="{CB033CE0-6666-4782-B805-6F90415335CB}" srcOrd="5" destOrd="0" presId="urn:microsoft.com/office/officeart/2005/8/layout/cycle7"/>
    <dgm:cxn modelId="{48D68C6A-6BA7-4E85-85B5-907DDB7BFDB7}" type="presParOf" srcId="{CB033CE0-6666-4782-B805-6F90415335CB}" destId="{ADB7F65F-F7A4-426D-A905-9A7B987FA094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4A87CA63-632B-4ED1-8105-D805E72BCB5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CF1F707D-5D90-430B-9A9E-2FFA92161342}">
      <dgm:prSet/>
      <dgm:spPr/>
      <dgm:t>
        <a:bodyPr/>
        <a:lstStyle/>
        <a:p>
          <a:pPr algn="ctr" rtl="0"/>
          <a:r>
            <a:rPr lang="en-US" dirty="0" smtClean="0"/>
            <a:t>Concurrency Control</a:t>
          </a:r>
          <a:endParaRPr lang="en-US" dirty="0"/>
        </a:p>
      </dgm:t>
    </dgm:pt>
    <dgm:pt modelId="{89D1F865-8A52-439A-A16E-386C2F65E93B}" type="parTrans" cxnId="{8FA68FB3-9447-4882-B168-04A57BF42B4C}">
      <dgm:prSet/>
      <dgm:spPr/>
      <dgm:t>
        <a:bodyPr/>
        <a:lstStyle/>
        <a:p>
          <a:endParaRPr lang="en-US"/>
        </a:p>
      </dgm:t>
    </dgm:pt>
    <dgm:pt modelId="{555EB462-AD0C-44F6-8E56-CE47ABD62D12}" type="sibTrans" cxnId="{8FA68FB3-9447-4882-B168-04A57BF42B4C}">
      <dgm:prSet/>
      <dgm:spPr/>
      <dgm:t>
        <a:bodyPr/>
        <a:lstStyle/>
        <a:p>
          <a:endParaRPr lang="en-US"/>
        </a:p>
      </dgm:t>
    </dgm:pt>
    <dgm:pt modelId="{11C9C728-8C68-41E9-A5ED-D6415A3EA929}" type="pres">
      <dgm:prSet presAssocID="{4A87CA63-632B-4ED1-8105-D805E72BCB55}" presName="linear" presStyleCnt="0">
        <dgm:presLayoutVars>
          <dgm:animLvl val="lvl"/>
          <dgm:resizeHandles val="exact"/>
        </dgm:presLayoutVars>
      </dgm:prSet>
      <dgm:spPr/>
    </dgm:pt>
    <dgm:pt modelId="{3246686E-58E5-4CDE-8C41-DCE6262D1FB9}" type="pres">
      <dgm:prSet presAssocID="{CF1F707D-5D90-430B-9A9E-2FFA92161342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E455DE09-729C-42B8-910D-FBF61EC13AED}" type="presOf" srcId="{4A87CA63-632B-4ED1-8105-D805E72BCB55}" destId="{11C9C728-8C68-41E9-A5ED-D6415A3EA929}" srcOrd="0" destOrd="0" presId="urn:microsoft.com/office/officeart/2005/8/layout/vList2"/>
    <dgm:cxn modelId="{8FA68FB3-9447-4882-B168-04A57BF42B4C}" srcId="{4A87CA63-632B-4ED1-8105-D805E72BCB55}" destId="{CF1F707D-5D90-430B-9A9E-2FFA92161342}" srcOrd="0" destOrd="0" parTransId="{89D1F865-8A52-439A-A16E-386C2F65E93B}" sibTransId="{555EB462-AD0C-44F6-8E56-CE47ABD62D12}"/>
    <dgm:cxn modelId="{7732CF61-49F3-4B62-A680-26607558CA7C}" type="presOf" srcId="{CF1F707D-5D90-430B-9A9E-2FFA92161342}" destId="{3246686E-58E5-4CDE-8C41-DCE6262D1FB9}" srcOrd="0" destOrd="0" presId="urn:microsoft.com/office/officeart/2005/8/layout/vList2"/>
    <dgm:cxn modelId="{661B3968-0972-43D7-9AF4-4FA5059CB7B1}" type="presParOf" srcId="{11C9C728-8C68-41E9-A5ED-D6415A3EA929}" destId="{3246686E-58E5-4CDE-8C41-DCE6262D1FB9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16B4834-D243-43D3-B7AA-F1B2F51971C8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EE0A048-20B7-4108-B671-E43D052E5E5A}">
      <dgm:prSet phldrT="[Text]" custT="1"/>
      <dgm:spPr/>
      <dgm:t>
        <a:bodyPr/>
        <a:lstStyle/>
        <a:p>
          <a:r>
            <a:rPr lang="en-US" sz="1100" dirty="0" smtClean="0"/>
            <a:t>Memory Management </a:t>
          </a:r>
          <a:endParaRPr lang="en-US" sz="1100" dirty="0"/>
        </a:p>
      </dgm:t>
    </dgm:pt>
    <dgm:pt modelId="{A1F58AD5-0A76-4C18-BF90-D78F3762F3D3}" type="parTrans" cxnId="{7BFBD10D-4F8F-4908-94AC-3E845CD71AA2}">
      <dgm:prSet/>
      <dgm:spPr/>
      <dgm:t>
        <a:bodyPr/>
        <a:lstStyle/>
        <a:p>
          <a:endParaRPr lang="en-US"/>
        </a:p>
      </dgm:t>
    </dgm:pt>
    <dgm:pt modelId="{6FC4F981-0731-47C5-A123-4E10423FA50B}" type="sibTrans" cxnId="{7BFBD10D-4F8F-4908-94AC-3E845CD71AA2}">
      <dgm:prSet/>
      <dgm:spPr/>
      <dgm:t>
        <a:bodyPr/>
        <a:lstStyle/>
        <a:p>
          <a:endParaRPr lang="en-US"/>
        </a:p>
      </dgm:t>
    </dgm:pt>
    <dgm:pt modelId="{8C1DBFB2-322F-426D-9075-748120BD624D}">
      <dgm:prSet phldrT="[Text]"/>
      <dgm:spPr/>
      <dgm:t>
        <a:bodyPr/>
        <a:lstStyle/>
        <a:p>
          <a:r>
            <a:rPr lang="en-US" dirty="0" smtClean="0"/>
            <a:t>Buddy System</a:t>
          </a:r>
          <a:endParaRPr lang="en-US" dirty="0"/>
        </a:p>
      </dgm:t>
    </dgm:pt>
    <dgm:pt modelId="{01447DB6-3E9D-4E80-A19F-8668A9E24D21}" type="parTrans" cxnId="{986810C4-0072-437A-A66A-483571330730}">
      <dgm:prSet/>
      <dgm:spPr/>
      <dgm:t>
        <a:bodyPr/>
        <a:lstStyle/>
        <a:p>
          <a:endParaRPr lang="en-US"/>
        </a:p>
      </dgm:t>
    </dgm:pt>
    <dgm:pt modelId="{1AEBE758-6995-4D0B-B3C9-4A627C018CA0}" type="sibTrans" cxnId="{986810C4-0072-437A-A66A-483571330730}">
      <dgm:prSet/>
      <dgm:spPr/>
      <dgm:t>
        <a:bodyPr/>
        <a:lstStyle/>
        <a:p>
          <a:endParaRPr lang="en-US"/>
        </a:p>
      </dgm:t>
    </dgm:pt>
    <dgm:pt modelId="{BAF5DCD5-2AE3-4740-9D4E-E2F6CB383128}">
      <dgm:prSet phldrT="[Text]"/>
      <dgm:spPr/>
      <dgm:t>
        <a:bodyPr/>
        <a:lstStyle/>
        <a:p>
          <a:r>
            <a:rPr lang="en-US" dirty="0" smtClean="0"/>
            <a:t>LRU</a:t>
          </a:r>
          <a:endParaRPr lang="en-US" dirty="0"/>
        </a:p>
      </dgm:t>
    </dgm:pt>
    <dgm:pt modelId="{E286FA02-C4DA-4998-83FC-E2E552B77CDA}" type="parTrans" cxnId="{A2AE62E0-0039-4F17-A5FE-7E1E0A23CE8B}">
      <dgm:prSet/>
      <dgm:spPr/>
      <dgm:t>
        <a:bodyPr/>
        <a:lstStyle/>
        <a:p>
          <a:endParaRPr lang="en-US"/>
        </a:p>
      </dgm:t>
    </dgm:pt>
    <dgm:pt modelId="{D2E04A0C-5016-4873-90F5-42771CA4C2B4}" type="sibTrans" cxnId="{A2AE62E0-0039-4F17-A5FE-7E1E0A23CE8B}">
      <dgm:prSet/>
      <dgm:spPr/>
      <dgm:t>
        <a:bodyPr/>
        <a:lstStyle/>
        <a:p>
          <a:endParaRPr lang="en-US"/>
        </a:p>
      </dgm:t>
    </dgm:pt>
    <dgm:pt modelId="{B4A0071D-B500-44F1-AAC8-E2B504CD7AD8}" type="pres">
      <dgm:prSet presAssocID="{116B4834-D243-43D3-B7AA-F1B2F51971C8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A9F5EE1-100B-4010-8E81-F884437A4C53}" type="pres">
      <dgm:prSet presAssocID="{7EE0A048-20B7-4108-B671-E43D052E5E5A}" presName="centerShape" presStyleLbl="node0" presStyleIdx="0" presStyleCnt="1"/>
      <dgm:spPr/>
      <dgm:t>
        <a:bodyPr/>
        <a:lstStyle/>
        <a:p>
          <a:endParaRPr lang="en-US"/>
        </a:p>
      </dgm:t>
    </dgm:pt>
    <dgm:pt modelId="{34B55A89-74DA-4109-A603-93E27CD2EF30}" type="pres">
      <dgm:prSet presAssocID="{01447DB6-3E9D-4E80-A19F-8668A9E24D21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DF88E63-24BE-4528-8F35-301BBF075C44}" type="pres">
      <dgm:prSet presAssocID="{8C1DBFB2-322F-426D-9075-748120BD624D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657F35-32BD-4DA9-A6D4-4EACECE3F9AC}" type="pres">
      <dgm:prSet presAssocID="{E286FA02-C4DA-4998-83FC-E2E552B77CD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7F6307FB-E60E-40B4-B22B-D715E3BD6A5B}" type="pres">
      <dgm:prSet presAssocID="{BAF5DCD5-2AE3-4740-9D4E-E2F6CB383128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BFBD10D-4F8F-4908-94AC-3E845CD71AA2}" srcId="{116B4834-D243-43D3-B7AA-F1B2F51971C8}" destId="{7EE0A048-20B7-4108-B671-E43D052E5E5A}" srcOrd="0" destOrd="0" parTransId="{A1F58AD5-0A76-4C18-BF90-D78F3762F3D3}" sibTransId="{6FC4F981-0731-47C5-A123-4E10423FA50B}"/>
    <dgm:cxn modelId="{986810C4-0072-437A-A66A-483571330730}" srcId="{7EE0A048-20B7-4108-B671-E43D052E5E5A}" destId="{8C1DBFB2-322F-426D-9075-748120BD624D}" srcOrd="0" destOrd="0" parTransId="{01447DB6-3E9D-4E80-A19F-8668A9E24D21}" sibTransId="{1AEBE758-6995-4D0B-B3C9-4A627C018CA0}"/>
    <dgm:cxn modelId="{0239968E-31EA-4B9F-A945-1D74396FFC67}" type="presOf" srcId="{7EE0A048-20B7-4108-B671-E43D052E5E5A}" destId="{6A9F5EE1-100B-4010-8E81-F884437A4C53}" srcOrd="0" destOrd="0" presId="urn:microsoft.com/office/officeart/2005/8/layout/radial4"/>
    <dgm:cxn modelId="{B05E392B-A420-40C6-B888-058081DF19C3}" type="presOf" srcId="{8C1DBFB2-322F-426D-9075-748120BD624D}" destId="{ADF88E63-24BE-4528-8F35-301BBF075C44}" srcOrd="0" destOrd="0" presId="urn:microsoft.com/office/officeart/2005/8/layout/radial4"/>
    <dgm:cxn modelId="{12AFEB91-4B01-48A5-A071-E8705AF38B37}" type="presOf" srcId="{E286FA02-C4DA-4998-83FC-E2E552B77CDA}" destId="{11657F35-32BD-4DA9-A6D4-4EACECE3F9AC}" srcOrd="0" destOrd="0" presId="urn:microsoft.com/office/officeart/2005/8/layout/radial4"/>
    <dgm:cxn modelId="{E5A3B6E7-7569-4C63-85A8-66D63FB441DF}" type="presOf" srcId="{116B4834-D243-43D3-B7AA-F1B2F51971C8}" destId="{B4A0071D-B500-44F1-AAC8-E2B504CD7AD8}" srcOrd="0" destOrd="0" presId="urn:microsoft.com/office/officeart/2005/8/layout/radial4"/>
    <dgm:cxn modelId="{269CE77B-072F-4731-81E4-461D85F8AF9D}" type="presOf" srcId="{BAF5DCD5-2AE3-4740-9D4E-E2F6CB383128}" destId="{7F6307FB-E60E-40B4-B22B-D715E3BD6A5B}" srcOrd="0" destOrd="0" presId="urn:microsoft.com/office/officeart/2005/8/layout/radial4"/>
    <dgm:cxn modelId="{A2AE62E0-0039-4F17-A5FE-7E1E0A23CE8B}" srcId="{7EE0A048-20B7-4108-B671-E43D052E5E5A}" destId="{BAF5DCD5-2AE3-4740-9D4E-E2F6CB383128}" srcOrd="1" destOrd="0" parTransId="{E286FA02-C4DA-4998-83FC-E2E552B77CDA}" sibTransId="{D2E04A0C-5016-4873-90F5-42771CA4C2B4}"/>
    <dgm:cxn modelId="{A956E1C6-68BE-4DCD-94C1-C431ED8BFCCD}" type="presOf" srcId="{01447DB6-3E9D-4E80-A19F-8668A9E24D21}" destId="{34B55A89-74DA-4109-A603-93E27CD2EF30}" srcOrd="0" destOrd="0" presId="urn:microsoft.com/office/officeart/2005/8/layout/radial4"/>
    <dgm:cxn modelId="{FBF25DB8-2657-48B3-8B24-5836D82BB31D}" type="presParOf" srcId="{B4A0071D-B500-44F1-AAC8-E2B504CD7AD8}" destId="{6A9F5EE1-100B-4010-8E81-F884437A4C53}" srcOrd="0" destOrd="0" presId="urn:microsoft.com/office/officeart/2005/8/layout/radial4"/>
    <dgm:cxn modelId="{B87A3F7A-5E21-4511-9B29-838750789982}" type="presParOf" srcId="{B4A0071D-B500-44F1-AAC8-E2B504CD7AD8}" destId="{34B55A89-74DA-4109-A603-93E27CD2EF30}" srcOrd="1" destOrd="0" presId="urn:microsoft.com/office/officeart/2005/8/layout/radial4"/>
    <dgm:cxn modelId="{BC62DFDD-6B38-4904-814D-94CCAB76F28E}" type="presParOf" srcId="{B4A0071D-B500-44F1-AAC8-E2B504CD7AD8}" destId="{ADF88E63-24BE-4528-8F35-301BBF075C44}" srcOrd="2" destOrd="0" presId="urn:microsoft.com/office/officeart/2005/8/layout/radial4"/>
    <dgm:cxn modelId="{69F3A0A6-CDB4-4DE8-A37C-77FD8741A476}" type="presParOf" srcId="{B4A0071D-B500-44F1-AAC8-E2B504CD7AD8}" destId="{11657F35-32BD-4DA9-A6D4-4EACECE3F9AC}" srcOrd="3" destOrd="0" presId="urn:microsoft.com/office/officeart/2005/8/layout/radial4"/>
    <dgm:cxn modelId="{5505C0C3-6931-4521-AD57-91112396CEA1}" type="presParOf" srcId="{B4A0071D-B500-44F1-AAC8-E2B504CD7AD8}" destId="{7F6307FB-E60E-40B4-B22B-D715E3BD6A5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F41BDB7-DDD5-46F2-AD2B-48CA171E7A7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C2E625B-8056-4952-B1A8-959E50D6104B}">
      <dgm:prSet phldrT="[Text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>
              <a:solidFill>
                <a:schemeClr val="bg2">
                  <a:lumMod val="25000"/>
                </a:schemeClr>
              </a:solidFill>
            </a:rPr>
            <a:t>PRESENTATION LAYER</a:t>
          </a:r>
          <a:endParaRPr lang="en-US" dirty="0">
            <a:solidFill>
              <a:schemeClr val="bg2">
                <a:lumMod val="25000"/>
              </a:schemeClr>
            </a:solidFill>
          </a:endParaRPr>
        </a:p>
      </dgm:t>
    </dgm:pt>
    <dgm:pt modelId="{869394DB-5986-4D0B-8ADF-1F9F1155B53B}" type="parTrans" cxnId="{0F7DA718-71B0-41D2-A8DB-2051D72AF9C8}">
      <dgm:prSet/>
      <dgm:spPr/>
      <dgm:t>
        <a:bodyPr/>
        <a:lstStyle/>
        <a:p>
          <a:endParaRPr lang="en-US"/>
        </a:p>
      </dgm:t>
    </dgm:pt>
    <dgm:pt modelId="{85AF09DD-28EF-4A64-86D1-DA87CD35DBFF}" type="sibTrans" cxnId="{0F7DA718-71B0-41D2-A8DB-2051D72AF9C8}">
      <dgm:prSet/>
      <dgm:spPr/>
      <dgm:t>
        <a:bodyPr/>
        <a:lstStyle/>
        <a:p>
          <a:endParaRPr lang="en-US"/>
        </a:p>
      </dgm:t>
    </dgm:pt>
    <dgm:pt modelId="{35F20EE8-B175-46A2-BFC0-CA2DCB507688}">
      <dgm:prSet phldrT="[Text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>
              <a:solidFill>
                <a:schemeClr val="bg2">
                  <a:lumMod val="25000"/>
                </a:schemeClr>
              </a:solidFill>
            </a:rPr>
            <a:t>BUSINESS LOGIC LAYER</a:t>
          </a:r>
          <a:endParaRPr lang="en-US" dirty="0">
            <a:solidFill>
              <a:schemeClr val="bg2">
                <a:lumMod val="25000"/>
              </a:schemeClr>
            </a:solidFill>
          </a:endParaRPr>
        </a:p>
      </dgm:t>
    </dgm:pt>
    <dgm:pt modelId="{346F7BE8-E35F-46F6-9F96-B6B65AEE6D30}" type="parTrans" cxnId="{B6DAFE77-CC4F-4E92-B478-E13C082E4F65}">
      <dgm:prSet/>
      <dgm:spPr/>
      <dgm:t>
        <a:bodyPr/>
        <a:lstStyle/>
        <a:p>
          <a:endParaRPr lang="en-US"/>
        </a:p>
      </dgm:t>
    </dgm:pt>
    <dgm:pt modelId="{1C6E5E62-27F0-448C-B96B-1ABBB9EEEDA9}" type="sibTrans" cxnId="{B6DAFE77-CC4F-4E92-B478-E13C082E4F65}">
      <dgm:prSet/>
      <dgm:spPr/>
      <dgm:t>
        <a:bodyPr/>
        <a:lstStyle/>
        <a:p>
          <a:endParaRPr lang="en-US"/>
        </a:p>
      </dgm:t>
    </dgm:pt>
    <dgm:pt modelId="{053765BC-405D-4979-B88A-18DB4AE80B80}">
      <dgm:prSet phldrT="[Text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>
              <a:solidFill>
                <a:schemeClr val="bg2">
                  <a:lumMod val="25000"/>
                </a:schemeClr>
              </a:solidFill>
            </a:rPr>
            <a:t>DATA ACCESS LAYER</a:t>
          </a:r>
          <a:endParaRPr lang="en-US" dirty="0">
            <a:solidFill>
              <a:schemeClr val="bg2">
                <a:lumMod val="25000"/>
              </a:schemeClr>
            </a:solidFill>
          </a:endParaRPr>
        </a:p>
      </dgm:t>
    </dgm:pt>
    <dgm:pt modelId="{208A7F44-3194-4B07-B213-066715517BD4}" type="parTrans" cxnId="{C0320783-7DD6-426D-9498-168BD3F9F09C}">
      <dgm:prSet/>
      <dgm:spPr/>
      <dgm:t>
        <a:bodyPr/>
        <a:lstStyle/>
        <a:p>
          <a:endParaRPr lang="en-US"/>
        </a:p>
      </dgm:t>
    </dgm:pt>
    <dgm:pt modelId="{7E182C90-7099-41E3-A2D8-B321940382A7}" type="sibTrans" cxnId="{C0320783-7DD6-426D-9498-168BD3F9F09C}">
      <dgm:prSet/>
      <dgm:spPr/>
      <dgm:t>
        <a:bodyPr/>
        <a:lstStyle/>
        <a:p>
          <a:endParaRPr lang="en-US"/>
        </a:p>
      </dgm:t>
    </dgm:pt>
    <dgm:pt modelId="{45E6618D-16D5-419B-AB8B-89C0F3442A2B}" type="pres">
      <dgm:prSet presAssocID="{EF41BDB7-DDD5-46F2-AD2B-48CA171E7A7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1EFE397B-9D03-4B34-8813-7FF29FE9CECF}" type="pres">
      <dgm:prSet presAssocID="{EF41BDB7-DDD5-46F2-AD2B-48CA171E7A7C}" presName="Name1" presStyleCnt="0"/>
      <dgm:spPr/>
    </dgm:pt>
    <dgm:pt modelId="{88ADA31A-CBC6-4D57-A0D4-76FBD4E311F5}" type="pres">
      <dgm:prSet presAssocID="{EF41BDB7-DDD5-46F2-AD2B-48CA171E7A7C}" presName="cycle" presStyleCnt="0"/>
      <dgm:spPr/>
    </dgm:pt>
    <dgm:pt modelId="{25A0D326-7C81-413D-B592-8F0C87A23782}" type="pres">
      <dgm:prSet presAssocID="{EF41BDB7-DDD5-46F2-AD2B-48CA171E7A7C}" presName="srcNode" presStyleLbl="node1" presStyleIdx="0" presStyleCnt="3"/>
      <dgm:spPr/>
    </dgm:pt>
    <dgm:pt modelId="{D104D0C0-65BE-4ECE-931E-77C13A99999C}" type="pres">
      <dgm:prSet presAssocID="{EF41BDB7-DDD5-46F2-AD2B-48CA171E7A7C}" presName="conn" presStyleLbl="parChTrans1D2" presStyleIdx="0" presStyleCnt="1"/>
      <dgm:spPr/>
      <dgm:t>
        <a:bodyPr/>
        <a:lstStyle/>
        <a:p>
          <a:endParaRPr lang="en-US"/>
        </a:p>
      </dgm:t>
    </dgm:pt>
    <dgm:pt modelId="{22F7BD8A-7541-46CF-920D-66A136EE55E7}" type="pres">
      <dgm:prSet presAssocID="{EF41BDB7-DDD5-46F2-AD2B-48CA171E7A7C}" presName="extraNode" presStyleLbl="node1" presStyleIdx="0" presStyleCnt="3"/>
      <dgm:spPr/>
    </dgm:pt>
    <dgm:pt modelId="{9A51BBDC-C5DD-4770-8AE1-B678AE18917C}" type="pres">
      <dgm:prSet presAssocID="{EF41BDB7-DDD5-46F2-AD2B-48CA171E7A7C}" presName="dstNode" presStyleLbl="node1" presStyleIdx="0" presStyleCnt="3"/>
      <dgm:spPr/>
    </dgm:pt>
    <dgm:pt modelId="{8DB0A41B-13B6-4D41-BA9A-B866E3467B52}" type="pres">
      <dgm:prSet presAssocID="{1C2E625B-8056-4952-B1A8-959E50D6104B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EF8486-D392-432F-9C27-2481C17B75B5}" type="pres">
      <dgm:prSet presAssocID="{1C2E625B-8056-4952-B1A8-959E50D6104B}" presName="accent_1" presStyleCnt="0"/>
      <dgm:spPr/>
    </dgm:pt>
    <dgm:pt modelId="{2809824C-C96F-4220-97AC-0B8950352ED2}" type="pres">
      <dgm:prSet presAssocID="{1C2E625B-8056-4952-B1A8-959E50D6104B}" presName="accentRepeatNode" presStyleLbl="solidFgAcc1" presStyleIdx="0" presStyleCnt="3"/>
      <dgm:spPr>
        <a:solidFill>
          <a:schemeClr val="bg1">
            <a:lumMod val="85000"/>
          </a:schemeClr>
        </a:solidFill>
      </dgm:spPr>
    </dgm:pt>
    <dgm:pt modelId="{745693F0-6E54-42C8-9E78-3CBC2BAE04A9}" type="pres">
      <dgm:prSet presAssocID="{35F20EE8-B175-46A2-BFC0-CA2DCB507688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C175E4-2CAE-4358-BDC8-48AF5B346FEC}" type="pres">
      <dgm:prSet presAssocID="{35F20EE8-B175-46A2-BFC0-CA2DCB507688}" presName="accent_2" presStyleCnt="0"/>
      <dgm:spPr/>
    </dgm:pt>
    <dgm:pt modelId="{690650B8-33BF-4D03-BD7A-B62C3563ECC4}" type="pres">
      <dgm:prSet presAssocID="{35F20EE8-B175-46A2-BFC0-CA2DCB507688}" presName="accentRepeatNode" presStyleLbl="solidFgAcc1" presStyleIdx="1" presStyleCnt="3" custLinFactNeighborX="3676" custLinFactNeighborY="-4615"/>
      <dgm:spPr>
        <a:solidFill>
          <a:schemeClr val="bg1">
            <a:lumMod val="85000"/>
          </a:schemeClr>
        </a:solidFill>
      </dgm:spPr>
    </dgm:pt>
    <dgm:pt modelId="{ADD0751A-AC2C-4901-961C-CF485729D4DA}" type="pres">
      <dgm:prSet presAssocID="{053765BC-405D-4979-B88A-18DB4AE80B80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0AE2F2-B615-49B6-A723-3F73F10A962E}" type="pres">
      <dgm:prSet presAssocID="{053765BC-405D-4979-B88A-18DB4AE80B80}" presName="accent_3" presStyleCnt="0"/>
      <dgm:spPr/>
    </dgm:pt>
    <dgm:pt modelId="{2CD20459-9E8D-4304-80AF-1C42F5DF85D8}" type="pres">
      <dgm:prSet presAssocID="{053765BC-405D-4979-B88A-18DB4AE80B80}" presName="accentRepeatNode" presStyleLbl="solidFgAcc1" presStyleIdx="2" presStyleCnt="3" custLinFactNeighborX="11239" custLinFactNeighborY="-3333"/>
      <dgm:spPr>
        <a:solidFill>
          <a:schemeClr val="bg1">
            <a:lumMod val="85000"/>
          </a:schemeClr>
        </a:solidFill>
      </dgm:spPr>
    </dgm:pt>
  </dgm:ptLst>
  <dgm:cxnLst>
    <dgm:cxn modelId="{C9F6A461-7D07-4042-968F-491350117D56}" type="presOf" srcId="{1C2E625B-8056-4952-B1A8-959E50D6104B}" destId="{8DB0A41B-13B6-4D41-BA9A-B866E3467B52}" srcOrd="0" destOrd="0" presId="urn:microsoft.com/office/officeart/2008/layout/VerticalCurvedList"/>
    <dgm:cxn modelId="{5E37CB29-3DC2-4707-A7BA-D783F26BA840}" type="presOf" srcId="{85AF09DD-28EF-4A64-86D1-DA87CD35DBFF}" destId="{D104D0C0-65BE-4ECE-931E-77C13A99999C}" srcOrd="0" destOrd="0" presId="urn:microsoft.com/office/officeart/2008/layout/VerticalCurvedList"/>
    <dgm:cxn modelId="{4F3F0AF4-CE52-4378-91B1-DE8AE4AF296E}" type="presOf" srcId="{EF41BDB7-DDD5-46F2-AD2B-48CA171E7A7C}" destId="{45E6618D-16D5-419B-AB8B-89C0F3442A2B}" srcOrd="0" destOrd="0" presId="urn:microsoft.com/office/officeart/2008/layout/VerticalCurvedList"/>
    <dgm:cxn modelId="{B6DAFE77-CC4F-4E92-B478-E13C082E4F65}" srcId="{EF41BDB7-DDD5-46F2-AD2B-48CA171E7A7C}" destId="{35F20EE8-B175-46A2-BFC0-CA2DCB507688}" srcOrd="1" destOrd="0" parTransId="{346F7BE8-E35F-46F6-9F96-B6B65AEE6D30}" sibTransId="{1C6E5E62-27F0-448C-B96B-1ABBB9EEEDA9}"/>
    <dgm:cxn modelId="{71E414E6-375D-4CC1-88CF-9C411216DDE3}" type="presOf" srcId="{053765BC-405D-4979-B88A-18DB4AE80B80}" destId="{ADD0751A-AC2C-4901-961C-CF485729D4DA}" srcOrd="0" destOrd="0" presId="urn:microsoft.com/office/officeart/2008/layout/VerticalCurvedList"/>
    <dgm:cxn modelId="{0F7DA718-71B0-41D2-A8DB-2051D72AF9C8}" srcId="{EF41BDB7-DDD5-46F2-AD2B-48CA171E7A7C}" destId="{1C2E625B-8056-4952-B1A8-959E50D6104B}" srcOrd="0" destOrd="0" parTransId="{869394DB-5986-4D0B-8ADF-1F9F1155B53B}" sibTransId="{85AF09DD-28EF-4A64-86D1-DA87CD35DBFF}"/>
    <dgm:cxn modelId="{C0320783-7DD6-426D-9498-168BD3F9F09C}" srcId="{EF41BDB7-DDD5-46F2-AD2B-48CA171E7A7C}" destId="{053765BC-405D-4979-B88A-18DB4AE80B80}" srcOrd="2" destOrd="0" parTransId="{208A7F44-3194-4B07-B213-066715517BD4}" sibTransId="{7E182C90-7099-41E3-A2D8-B321940382A7}"/>
    <dgm:cxn modelId="{04DAA0CB-755D-4BA8-8BE4-E885D3E0DF41}" type="presOf" srcId="{35F20EE8-B175-46A2-BFC0-CA2DCB507688}" destId="{745693F0-6E54-42C8-9E78-3CBC2BAE04A9}" srcOrd="0" destOrd="0" presId="urn:microsoft.com/office/officeart/2008/layout/VerticalCurvedList"/>
    <dgm:cxn modelId="{F6A78155-46FD-4417-9412-8849E471BE42}" type="presParOf" srcId="{45E6618D-16D5-419B-AB8B-89C0F3442A2B}" destId="{1EFE397B-9D03-4B34-8813-7FF29FE9CECF}" srcOrd="0" destOrd="0" presId="urn:microsoft.com/office/officeart/2008/layout/VerticalCurvedList"/>
    <dgm:cxn modelId="{79B32D9C-D18D-4B8D-AED5-52C13B2FCCED}" type="presParOf" srcId="{1EFE397B-9D03-4B34-8813-7FF29FE9CECF}" destId="{88ADA31A-CBC6-4D57-A0D4-76FBD4E311F5}" srcOrd="0" destOrd="0" presId="urn:microsoft.com/office/officeart/2008/layout/VerticalCurvedList"/>
    <dgm:cxn modelId="{F292A2BA-1F02-4C09-ACC3-F32E72D49BC9}" type="presParOf" srcId="{88ADA31A-CBC6-4D57-A0D4-76FBD4E311F5}" destId="{25A0D326-7C81-413D-B592-8F0C87A23782}" srcOrd="0" destOrd="0" presId="urn:microsoft.com/office/officeart/2008/layout/VerticalCurvedList"/>
    <dgm:cxn modelId="{03273168-5661-498D-AF7D-318CD0541B5A}" type="presParOf" srcId="{88ADA31A-CBC6-4D57-A0D4-76FBD4E311F5}" destId="{D104D0C0-65BE-4ECE-931E-77C13A99999C}" srcOrd="1" destOrd="0" presId="urn:microsoft.com/office/officeart/2008/layout/VerticalCurvedList"/>
    <dgm:cxn modelId="{F46CAE1C-FD92-4425-AEB7-0BA52EEAC717}" type="presParOf" srcId="{88ADA31A-CBC6-4D57-A0D4-76FBD4E311F5}" destId="{22F7BD8A-7541-46CF-920D-66A136EE55E7}" srcOrd="2" destOrd="0" presId="urn:microsoft.com/office/officeart/2008/layout/VerticalCurvedList"/>
    <dgm:cxn modelId="{E771809E-DEDD-403B-B7A5-47212A7B7674}" type="presParOf" srcId="{88ADA31A-CBC6-4D57-A0D4-76FBD4E311F5}" destId="{9A51BBDC-C5DD-4770-8AE1-B678AE18917C}" srcOrd="3" destOrd="0" presId="urn:microsoft.com/office/officeart/2008/layout/VerticalCurvedList"/>
    <dgm:cxn modelId="{AB7CAE36-3227-4937-A7E5-93AFBF14B051}" type="presParOf" srcId="{1EFE397B-9D03-4B34-8813-7FF29FE9CECF}" destId="{8DB0A41B-13B6-4D41-BA9A-B866E3467B52}" srcOrd="1" destOrd="0" presId="urn:microsoft.com/office/officeart/2008/layout/VerticalCurvedList"/>
    <dgm:cxn modelId="{A3B23D8F-AAA2-42AB-96C4-28E513062800}" type="presParOf" srcId="{1EFE397B-9D03-4B34-8813-7FF29FE9CECF}" destId="{2DEF8486-D392-432F-9C27-2481C17B75B5}" srcOrd="2" destOrd="0" presId="urn:microsoft.com/office/officeart/2008/layout/VerticalCurvedList"/>
    <dgm:cxn modelId="{6EE999AB-676C-4E3C-AA07-29276E1AF7E9}" type="presParOf" srcId="{2DEF8486-D392-432F-9C27-2481C17B75B5}" destId="{2809824C-C96F-4220-97AC-0B8950352ED2}" srcOrd="0" destOrd="0" presId="urn:microsoft.com/office/officeart/2008/layout/VerticalCurvedList"/>
    <dgm:cxn modelId="{92E12B3A-4DFA-4A15-937D-AAE2C9836222}" type="presParOf" srcId="{1EFE397B-9D03-4B34-8813-7FF29FE9CECF}" destId="{745693F0-6E54-42C8-9E78-3CBC2BAE04A9}" srcOrd="3" destOrd="0" presId="urn:microsoft.com/office/officeart/2008/layout/VerticalCurvedList"/>
    <dgm:cxn modelId="{39F079B4-6B07-4631-A12D-D0DE274B9480}" type="presParOf" srcId="{1EFE397B-9D03-4B34-8813-7FF29FE9CECF}" destId="{FFC175E4-2CAE-4358-BDC8-48AF5B346FEC}" srcOrd="4" destOrd="0" presId="urn:microsoft.com/office/officeart/2008/layout/VerticalCurvedList"/>
    <dgm:cxn modelId="{78E344FD-0101-4FB6-BB06-429908597828}" type="presParOf" srcId="{FFC175E4-2CAE-4358-BDC8-48AF5B346FEC}" destId="{690650B8-33BF-4D03-BD7A-B62C3563ECC4}" srcOrd="0" destOrd="0" presId="urn:microsoft.com/office/officeart/2008/layout/VerticalCurvedList"/>
    <dgm:cxn modelId="{D3E22EFD-5061-4500-B8CC-E99935818DB7}" type="presParOf" srcId="{1EFE397B-9D03-4B34-8813-7FF29FE9CECF}" destId="{ADD0751A-AC2C-4901-961C-CF485729D4DA}" srcOrd="5" destOrd="0" presId="urn:microsoft.com/office/officeart/2008/layout/VerticalCurvedList"/>
    <dgm:cxn modelId="{D46A8636-573E-407A-B08F-A1852867A794}" type="presParOf" srcId="{1EFE397B-9D03-4B34-8813-7FF29FE9CECF}" destId="{590AE2F2-B615-49B6-A723-3F73F10A962E}" srcOrd="6" destOrd="0" presId="urn:microsoft.com/office/officeart/2008/layout/VerticalCurvedList"/>
    <dgm:cxn modelId="{646E44EE-3E79-4624-A574-B36EB5A98B25}" type="presParOf" srcId="{590AE2F2-B615-49B6-A723-3F73F10A962E}" destId="{2CD20459-9E8D-4304-80AF-1C42F5DF85D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7261DAB-CFDF-44F2-8744-4050D5F521E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F22ADEBB-503E-486B-A406-EC417B576112}">
      <dgm:prSet/>
      <dgm:spPr/>
      <dgm:t>
        <a:bodyPr/>
        <a:lstStyle/>
        <a:p>
          <a:pPr rtl="0"/>
          <a:r>
            <a:rPr lang="en-US" dirty="0" smtClean="0"/>
            <a:t>Flat file based database management systems</a:t>
          </a:r>
          <a:endParaRPr lang="en-US" dirty="0"/>
        </a:p>
      </dgm:t>
    </dgm:pt>
    <dgm:pt modelId="{D0E88F17-11F1-42DE-926B-A75302296221}" type="parTrans" cxnId="{520ECD11-0867-4483-B49A-DC5A58E16437}">
      <dgm:prSet/>
      <dgm:spPr/>
      <dgm:t>
        <a:bodyPr/>
        <a:lstStyle/>
        <a:p>
          <a:endParaRPr lang="en-US"/>
        </a:p>
      </dgm:t>
    </dgm:pt>
    <dgm:pt modelId="{1A4B5FF4-35F9-473B-96B7-E49E6DA282DB}" type="sibTrans" cxnId="{520ECD11-0867-4483-B49A-DC5A58E16437}">
      <dgm:prSet/>
      <dgm:spPr/>
      <dgm:t>
        <a:bodyPr/>
        <a:lstStyle/>
        <a:p>
          <a:endParaRPr lang="en-US"/>
        </a:p>
      </dgm:t>
    </dgm:pt>
    <dgm:pt modelId="{7E5A1F82-D754-498B-A9D1-ABC99C13265F}" type="pres">
      <dgm:prSet presAssocID="{E7261DAB-CFDF-44F2-8744-4050D5F521ED}" presName="linear" presStyleCnt="0">
        <dgm:presLayoutVars>
          <dgm:animLvl val="lvl"/>
          <dgm:resizeHandles val="exact"/>
        </dgm:presLayoutVars>
      </dgm:prSet>
      <dgm:spPr/>
    </dgm:pt>
    <dgm:pt modelId="{3A947C43-33ED-4FAD-A699-B587B8257B30}" type="pres">
      <dgm:prSet presAssocID="{F22ADEBB-503E-486B-A406-EC417B576112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520ECD11-0867-4483-B49A-DC5A58E16437}" srcId="{E7261DAB-CFDF-44F2-8744-4050D5F521ED}" destId="{F22ADEBB-503E-486B-A406-EC417B576112}" srcOrd="0" destOrd="0" parTransId="{D0E88F17-11F1-42DE-926B-A75302296221}" sibTransId="{1A4B5FF4-35F9-473B-96B7-E49E6DA282DB}"/>
    <dgm:cxn modelId="{D39CC28B-0CAB-44B3-B4CB-D7ED8E708BE2}" type="presOf" srcId="{F22ADEBB-503E-486B-A406-EC417B576112}" destId="{3A947C43-33ED-4FAD-A699-B587B8257B30}" srcOrd="0" destOrd="0" presId="urn:microsoft.com/office/officeart/2005/8/layout/vList2"/>
    <dgm:cxn modelId="{720E3DC0-525E-451C-8875-0CCA042E8EA6}" type="presOf" srcId="{E7261DAB-CFDF-44F2-8744-4050D5F521ED}" destId="{7E5A1F82-D754-498B-A9D1-ABC99C13265F}" srcOrd="0" destOrd="0" presId="urn:microsoft.com/office/officeart/2005/8/layout/vList2"/>
    <dgm:cxn modelId="{9D5EF5B2-80FF-428D-80BA-B22ED19261A6}" type="presParOf" srcId="{7E5A1F82-D754-498B-A9D1-ABC99C13265F}" destId="{3A947C43-33ED-4FAD-A699-B587B8257B3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A6ABC09-CC00-44EE-9803-046DF5A9595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47D5D167-5C47-4E47-9A9E-41218E52ACCF}">
      <dgm:prSet/>
      <dgm:spPr/>
      <dgm:t>
        <a:bodyPr/>
        <a:lstStyle/>
        <a:p>
          <a:pPr rtl="0"/>
          <a:r>
            <a:rPr lang="en-US" dirty="0" smtClean="0"/>
            <a:t>Hierarchical database management systems</a:t>
          </a:r>
          <a:endParaRPr lang="en-US" dirty="0"/>
        </a:p>
      </dgm:t>
    </dgm:pt>
    <dgm:pt modelId="{03393185-88D8-4014-A4C9-CA24F370DEDB}" type="parTrans" cxnId="{9EFFDCF3-57F2-4712-8F4D-A698EA28CD5C}">
      <dgm:prSet/>
      <dgm:spPr/>
      <dgm:t>
        <a:bodyPr/>
        <a:lstStyle/>
        <a:p>
          <a:endParaRPr lang="en-US"/>
        </a:p>
      </dgm:t>
    </dgm:pt>
    <dgm:pt modelId="{11F0E398-C4A1-463F-8791-5566EA624F68}" type="sibTrans" cxnId="{9EFFDCF3-57F2-4712-8F4D-A698EA28CD5C}">
      <dgm:prSet/>
      <dgm:spPr/>
      <dgm:t>
        <a:bodyPr/>
        <a:lstStyle/>
        <a:p>
          <a:endParaRPr lang="en-US"/>
        </a:p>
      </dgm:t>
    </dgm:pt>
    <dgm:pt modelId="{3E67288C-FE30-4ADC-A197-B16219026635}" type="pres">
      <dgm:prSet presAssocID="{3A6ABC09-CC00-44EE-9803-046DF5A95958}" presName="linear" presStyleCnt="0">
        <dgm:presLayoutVars>
          <dgm:animLvl val="lvl"/>
          <dgm:resizeHandles val="exact"/>
        </dgm:presLayoutVars>
      </dgm:prSet>
      <dgm:spPr/>
    </dgm:pt>
    <dgm:pt modelId="{FF07ACC1-270D-4385-AEEF-FDA861B7A845}" type="pres">
      <dgm:prSet presAssocID="{47D5D167-5C47-4E47-9A9E-41218E52ACCF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F2525C49-FEDC-43C5-9050-89B404AEC815}" type="presOf" srcId="{3A6ABC09-CC00-44EE-9803-046DF5A95958}" destId="{3E67288C-FE30-4ADC-A197-B16219026635}" srcOrd="0" destOrd="0" presId="urn:microsoft.com/office/officeart/2005/8/layout/vList2"/>
    <dgm:cxn modelId="{1C102331-502E-4ACE-ADF0-153241E02DAC}" type="presOf" srcId="{47D5D167-5C47-4E47-9A9E-41218E52ACCF}" destId="{FF07ACC1-270D-4385-AEEF-FDA861B7A845}" srcOrd="0" destOrd="0" presId="urn:microsoft.com/office/officeart/2005/8/layout/vList2"/>
    <dgm:cxn modelId="{9EFFDCF3-57F2-4712-8F4D-A698EA28CD5C}" srcId="{3A6ABC09-CC00-44EE-9803-046DF5A95958}" destId="{47D5D167-5C47-4E47-9A9E-41218E52ACCF}" srcOrd="0" destOrd="0" parTransId="{03393185-88D8-4014-A4C9-CA24F370DEDB}" sibTransId="{11F0E398-C4A1-463F-8791-5566EA624F68}"/>
    <dgm:cxn modelId="{71E2CF36-E33D-4E37-8A51-E99F62501A91}" type="presParOf" srcId="{3E67288C-FE30-4ADC-A197-B16219026635}" destId="{FF07ACC1-270D-4385-AEEF-FDA861B7A84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CFFA45A-C5CE-444E-944D-B0CE6AB2B5D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0217C0EB-9306-42DE-B345-B6778F440173}">
      <dgm:prSet/>
      <dgm:spPr/>
      <dgm:t>
        <a:bodyPr/>
        <a:lstStyle/>
        <a:p>
          <a:pPr rtl="0"/>
          <a:r>
            <a:rPr lang="en-US" dirty="0" smtClean="0"/>
            <a:t>Network database management systems</a:t>
          </a:r>
          <a:endParaRPr lang="en-US" dirty="0"/>
        </a:p>
      </dgm:t>
    </dgm:pt>
    <dgm:pt modelId="{077904F5-9FD2-495C-B8BA-D8E60A664D99}" type="parTrans" cxnId="{8B6E6C9D-BEE2-4939-AA88-076B35BBCC73}">
      <dgm:prSet/>
      <dgm:spPr/>
      <dgm:t>
        <a:bodyPr/>
        <a:lstStyle/>
        <a:p>
          <a:endParaRPr lang="en-US"/>
        </a:p>
      </dgm:t>
    </dgm:pt>
    <dgm:pt modelId="{AF449A45-EB12-4D74-9EDF-E20D1387C58B}" type="sibTrans" cxnId="{8B6E6C9D-BEE2-4939-AA88-076B35BBCC73}">
      <dgm:prSet/>
      <dgm:spPr/>
      <dgm:t>
        <a:bodyPr/>
        <a:lstStyle/>
        <a:p>
          <a:endParaRPr lang="en-US"/>
        </a:p>
      </dgm:t>
    </dgm:pt>
    <dgm:pt modelId="{ADACEF2B-E4D3-43C5-9D7A-2FB735072280}" type="pres">
      <dgm:prSet presAssocID="{6CFFA45A-C5CE-444E-944D-B0CE6AB2B5DC}" presName="linear" presStyleCnt="0">
        <dgm:presLayoutVars>
          <dgm:animLvl val="lvl"/>
          <dgm:resizeHandles val="exact"/>
        </dgm:presLayoutVars>
      </dgm:prSet>
      <dgm:spPr/>
    </dgm:pt>
    <dgm:pt modelId="{61AB1CEB-B4F6-4275-8D31-7399E09EB115}" type="pres">
      <dgm:prSet presAssocID="{0217C0EB-9306-42DE-B345-B6778F440173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8BDF09C1-966D-4DE0-83FA-8A1C3637C374}" type="presOf" srcId="{0217C0EB-9306-42DE-B345-B6778F440173}" destId="{61AB1CEB-B4F6-4275-8D31-7399E09EB115}" srcOrd="0" destOrd="0" presId="urn:microsoft.com/office/officeart/2005/8/layout/vList2"/>
    <dgm:cxn modelId="{8B6E6C9D-BEE2-4939-AA88-076B35BBCC73}" srcId="{6CFFA45A-C5CE-444E-944D-B0CE6AB2B5DC}" destId="{0217C0EB-9306-42DE-B345-B6778F440173}" srcOrd="0" destOrd="0" parTransId="{077904F5-9FD2-495C-B8BA-D8E60A664D99}" sibTransId="{AF449A45-EB12-4D74-9EDF-E20D1387C58B}"/>
    <dgm:cxn modelId="{A9667897-4291-495E-B55A-6D3FC73182D4}" type="presOf" srcId="{6CFFA45A-C5CE-444E-944D-B0CE6AB2B5DC}" destId="{ADACEF2B-E4D3-43C5-9D7A-2FB735072280}" srcOrd="0" destOrd="0" presId="urn:microsoft.com/office/officeart/2005/8/layout/vList2"/>
    <dgm:cxn modelId="{1B7263BA-C661-4D23-8894-E3DBE232F915}" type="presParOf" srcId="{ADACEF2B-E4D3-43C5-9D7A-2FB735072280}" destId="{61AB1CEB-B4F6-4275-8D31-7399E09EB11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891EA7C5-EEE0-4098-8779-7256F04A34D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14B0B150-2B28-48E4-8A63-D9D7031FB667}">
      <dgm:prSet/>
      <dgm:spPr/>
      <dgm:t>
        <a:bodyPr/>
        <a:lstStyle/>
        <a:p>
          <a:pPr rtl="0"/>
          <a:r>
            <a:rPr lang="en-US" dirty="0" smtClean="0"/>
            <a:t>Object oriented database management systems</a:t>
          </a:r>
          <a:endParaRPr lang="en-US" dirty="0"/>
        </a:p>
      </dgm:t>
    </dgm:pt>
    <dgm:pt modelId="{AF6FB5C5-B4FF-4F1C-B110-284D406A83FA}" type="parTrans" cxnId="{1F1D6E43-0B99-4A25-96C0-59E18EF2A323}">
      <dgm:prSet/>
      <dgm:spPr/>
      <dgm:t>
        <a:bodyPr/>
        <a:lstStyle/>
        <a:p>
          <a:endParaRPr lang="en-US"/>
        </a:p>
      </dgm:t>
    </dgm:pt>
    <dgm:pt modelId="{409658F5-202C-42E2-B244-84B666540B6B}" type="sibTrans" cxnId="{1F1D6E43-0B99-4A25-96C0-59E18EF2A323}">
      <dgm:prSet/>
      <dgm:spPr/>
      <dgm:t>
        <a:bodyPr/>
        <a:lstStyle/>
        <a:p>
          <a:endParaRPr lang="en-US"/>
        </a:p>
      </dgm:t>
    </dgm:pt>
    <dgm:pt modelId="{276930E7-C2DA-4391-9C21-78D4B4A402AA}" type="pres">
      <dgm:prSet presAssocID="{891EA7C5-EEE0-4098-8779-7256F04A34D7}" presName="linear" presStyleCnt="0">
        <dgm:presLayoutVars>
          <dgm:animLvl val="lvl"/>
          <dgm:resizeHandles val="exact"/>
        </dgm:presLayoutVars>
      </dgm:prSet>
      <dgm:spPr/>
    </dgm:pt>
    <dgm:pt modelId="{1621784B-069A-4A22-84A9-3BB43E1CBB1A}" type="pres">
      <dgm:prSet presAssocID="{14B0B150-2B28-48E4-8A63-D9D7031FB667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377CB78D-A568-4E4B-AB49-74387CDBCBE3}" type="presOf" srcId="{14B0B150-2B28-48E4-8A63-D9D7031FB667}" destId="{1621784B-069A-4A22-84A9-3BB43E1CBB1A}" srcOrd="0" destOrd="0" presId="urn:microsoft.com/office/officeart/2005/8/layout/vList2"/>
    <dgm:cxn modelId="{1F1D6E43-0B99-4A25-96C0-59E18EF2A323}" srcId="{891EA7C5-EEE0-4098-8779-7256F04A34D7}" destId="{14B0B150-2B28-48E4-8A63-D9D7031FB667}" srcOrd="0" destOrd="0" parTransId="{AF6FB5C5-B4FF-4F1C-B110-284D406A83FA}" sibTransId="{409658F5-202C-42E2-B244-84B666540B6B}"/>
    <dgm:cxn modelId="{B2A305FC-658C-446D-8B32-14AD74FD1DC2}" type="presOf" srcId="{891EA7C5-EEE0-4098-8779-7256F04A34D7}" destId="{276930E7-C2DA-4391-9C21-78D4B4A402AA}" srcOrd="0" destOrd="0" presId="urn:microsoft.com/office/officeart/2005/8/layout/vList2"/>
    <dgm:cxn modelId="{2C2E4B82-3553-45F5-944B-5FF0B7B3372E}" type="presParOf" srcId="{276930E7-C2DA-4391-9C21-78D4B4A402AA}" destId="{1621784B-069A-4A22-84A9-3BB43E1CBB1A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4E04ACC-36BE-4044-9D57-386763EECD5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6201D69A-3A23-4C63-B59F-74DDC39E8A8D}">
      <dgm:prSet/>
      <dgm:spPr/>
      <dgm:t>
        <a:bodyPr/>
        <a:lstStyle/>
        <a:p>
          <a:pPr rtl="0"/>
          <a:r>
            <a:rPr lang="en-US" dirty="0" smtClean="0"/>
            <a:t>Relational database management systems</a:t>
          </a:r>
          <a:endParaRPr lang="en-US" dirty="0"/>
        </a:p>
      </dgm:t>
    </dgm:pt>
    <dgm:pt modelId="{8D45BA16-1D19-4B2A-ABD3-CB868C424E4E}" type="parTrans" cxnId="{D2C82EF8-20B8-4A48-8884-0E223BAEAFEE}">
      <dgm:prSet/>
      <dgm:spPr/>
      <dgm:t>
        <a:bodyPr/>
        <a:lstStyle/>
        <a:p>
          <a:endParaRPr lang="en-US"/>
        </a:p>
      </dgm:t>
    </dgm:pt>
    <dgm:pt modelId="{5B8E848A-2041-4360-97B2-0E1AF0BEEE6D}" type="sibTrans" cxnId="{D2C82EF8-20B8-4A48-8884-0E223BAEAFEE}">
      <dgm:prSet/>
      <dgm:spPr/>
      <dgm:t>
        <a:bodyPr/>
        <a:lstStyle/>
        <a:p>
          <a:endParaRPr lang="en-US"/>
        </a:p>
      </dgm:t>
    </dgm:pt>
    <dgm:pt modelId="{79E7C00C-0C20-406A-84A3-AECA489B066B}" type="pres">
      <dgm:prSet presAssocID="{D4E04ACC-36BE-4044-9D57-386763EECD53}" presName="linear" presStyleCnt="0">
        <dgm:presLayoutVars>
          <dgm:animLvl val="lvl"/>
          <dgm:resizeHandles val="exact"/>
        </dgm:presLayoutVars>
      </dgm:prSet>
      <dgm:spPr/>
    </dgm:pt>
    <dgm:pt modelId="{CBE58174-EEBB-4C39-A14C-E90F314FD54C}" type="pres">
      <dgm:prSet presAssocID="{6201D69A-3A23-4C63-B59F-74DDC39E8A8D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8CDE1753-A5DA-441F-B607-6020832C76D3}" type="presOf" srcId="{6201D69A-3A23-4C63-B59F-74DDC39E8A8D}" destId="{CBE58174-EEBB-4C39-A14C-E90F314FD54C}" srcOrd="0" destOrd="0" presId="urn:microsoft.com/office/officeart/2005/8/layout/vList2"/>
    <dgm:cxn modelId="{D2C82EF8-20B8-4A48-8884-0E223BAEAFEE}" srcId="{D4E04ACC-36BE-4044-9D57-386763EECD53}" destId="{6201D69A-3A23-4C63-B59F-74DDC39E8A8D}" srcOrd="0" destOrd="0" parTransId="{8D45BA16-1D19-4B2A-ABD3-CB868C424E4E}" sibTransId="{5B8E848A-2041-4360-97B2-0E1AF0BEEE6D}"/>
    <dgm:cxn modelId="{8513E742-DD9A-4518-AD89-88216068B2A8}" type="presOf" srcId="{D4E04ACC-36BE-4044-9D57-386763EECD53}" destId="{79E7C00C-0C20-406A-84A3-AECA489B066B}" srcOrd="0" destOrd="0" presId="urn:microsoft.com/office/officeart/2005/8/layout/vList2"/>
    <dgm:cxn modelId="{CCE0ABA6-83D2-4DEB-8DC5-DFB9B2D2F8D8}" type="presParOf" srcId="{79E7C00C-0C20-406A-84A3-AECA489B066B}" destId="{CBE58174-EEBB-4C39-A14C-E90F314FD54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785FAB-08E8-4433-97CB-3DACD2EB519D}">
      <dsp:nvSpPr>
        <dsp:cNvPr id="0" name=""/>
        <dsp:cNvSpPr/>
      </dsp:nvSpPr>
      <dsp:spPr>
        <a:xfrm>
          <a:off x="2350836" y="1591799"/>
          <a:ext cx="1105283" cy="12301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Linux</a:t>
          </a:r>
          <a:endParaRPr lang="en-US" sz="2000" kern="1200" dirty="0"/>
        </a:p>
      </dsp:txBody>
      <dsp:txXfrm>
        <a:off x="2512701" y="1771944"/>
        <a:ext cx="781553" cy="869820"/>
      </dsp:txXfrm>
    </dsp:sp>
    <dsp:sp modelId="{60413264-A758-4ED8-9205-058B092C5516}">
      <dsp:nvSpPr>
        <dsp:cNvPr id="0" name=""/>
        <dsp:cNvSpPr/>
      </dsp:nvSpPr>
      <dsp:spPr>
        <a:xfrm rot="16200000">
          <a:off x="2842867" y="1308695"/>
          <a:ext cx="121221" cy="344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2861050" y="1395748"/>
        <a:ext cx="84855" cy="206610"/>
      </dsp:txXfrm>
    </dsp:sp>
    <dsp:sp modelId="{A8B3F084-C609-41DF-B7A5-B3D696D8E9F8}">
      <dsp:nvSpPr>
        <dsp:cNvPr id="0" name=""/>
        <dsp:cNvSpPr/>
      </dsp:nvSpPr>
      <dsp:spPr>
        <a:xfrm>
          <a:off x="2100268" y="-42552"/>
          <a:ext cx="1606419" cy="140563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OS Services</a:t>
          </a:r>
          <a:endParaRPr lang="en-US" sz="1500" kern="1200" dirty="0"/>
        </a:p>
      </dsp:txBody>
      <dsp:txXfrm>
        <a:off x="2335523" y="163298"/>
        <a:ext cx="1135909" cy="993932"/>
      </dsp:txXfrm>
    </dsp:sp>
    <dsp:sp modelId="{5FD6C9F3-8D91-4C6C-A11D-3D346290ACE1}">
      <dsp:nvSpPr>
        <dsp:cNvPr id="0" name=""/>
        <dsp:cNvSpPr/>
      </dsp:nvSpPr>
      <dsp:spPr>
        <a:xfrm rot="32373">
          <a:off x="3562829" y="2042100"/>
          <a:ext cx="257147" cy="344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1689772"/>
            <a:satOff val="-4338"/>
            <a:lumOff val="-1084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3562831" y="2110607"/>
        <a:ext cx="180003" cy="206610"/>
      </dsp:txXfrm>
    </dsp:sp>
    <dsp:sp modelId="{1C81B57A-A34B-4DC2-BF49-77828593C166}">
      <dsp:nvSpPr>
        <dsp:cNvPr id="0" name=""/>
        <dsp:cNvSpPr/>
      </dsp:nvSpPr>
      <dsp:spPr>
        <a:xfrm>
          <a:off x="3941214" y="1455886"/>
          <a:ext cx="1715611" cy="1537637"/>
        </a:xfrm>
        <a:prstGeom prst="ellipse">
          <a:avLst/>
        </a:prstGeom>
        <a:solidFill>
          <a:schemeClr val="accent2">
            <a:hueOff val="1689772"/>
            <a:satOff val="-4338"/>
            <a:lumOff val="-1084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USER Application</a:t>
          </a:r>
          <a:endParaRPr lang="en-US" sz="1500" kern="1200" dirty="0"/>
        </a:p>
      </dsp:txBody>
      <dsp:txXfrm>
        <a:off x="4192459" y="1681068"/>
        <a:ext cx="1213121" cy="1087273"/>
      </dsp:txXfrm>
    </dsp:sp>
    <dsp:sp modelId="{97BE43BE-98E9-4AE5-A36E-C4F98A061C56}">
      <dsp:nvSpPr>
        <dsp:cNvPr id="0" name=""/>
        <dsp:cNvSpPr/>
      </dsp:nvSpPr>
      <dsp:spPr>
        <a:xfrm rot="5316793">
          <a:off x="2855033" y="2770751"/>
          <a:ext cx="132527" cy="344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3379544"/>
            <a:satOff val="-8675"/>
            <a:lumOff val="-2169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2874431" y="2819748"/>
        <a:ext cx="92769" cy="206610"/>
      </dsp:txXfrm>
    </dsp:sp>
    <dsp:sp modelId="{6D790799-C1A6-4912-A471-85393B0ED93D}">
      <dsp:nvSpPr>
        <dsp:cNvPr id="0" name=""/>
        <dsp:cNvSpPr/>
      </dsp:nvSpPr>
      <dsp:spPr>
        <a:xfrm>
          <a:off x="2177689" y="3071506"/>
          <a:ext cx="1526459" cy="1363880"/>
        </a:xfrm>
        <a:prstGeom prst="ellipse">
          <a:avLst/>
        </a:prstGeom>
        <a:solidFill>
          <a:schemeClr val="accent2">
            <a:hueOff val="3379544"/>
            <a:satOff val="-8675"/>
            <a:lumOff val="-2169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Linux Kernel </a:t>
          </a:r>
          <a:endParaRPr lang="en-US" sz="1500" kern="1200" dirty="0"/>
        </a:p>
      </dsp:txBody>
      <dsp:txXfrm>
        <a:off x="2401234" y="3271242"/>
        <a:ext cx="1079369" cy="964408"/>
      </dsp:txXfrm>
    </dsp:sp>
    <dsp:sp modelId="{8A15B3A4-12E2-481B-BE90-498DFD692BAD}">
      <dsp:nvSpPr>
        <dsp:cNvPr id="0" name=""/>
        <dsp:cNvSpPr/>
      </dsp:nvSpPr>
      <dsp:spPr>
        <a:xfrm rot="10765899">
          <a:off x="2093140" y="2041815"/>
          <a:ext cx="182126" cy="344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5069316"/>
            <a:satOff val="-13013"/>
            <a:lumOff val="-3254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 rot="10800000">
        <a:off x="2147777" y="2110414"/>
        <a:ext cx="127488" cy="206610"/>
      </dsp:txXfrm>
    </dsp:sp>
    <dsp:sp modelId="{9325D8EB-F374-45FF-B488-BDF1EC5AC75D}">
      <dsp:nvSpPr>
        <dsp:cNvPr id="0" name=""/>
        <dsp:cNvSpPr/>
      </dsp:nvSpPr>
      <dsp:spPr>
        <a:xfrm>
          <a:off x="199057" y="1455894"/>
          <a:ext cx="1808244" cy="1537637"/>
        </a:xfrm>
        <a:prstGeom prst="ellipse">
          <a:avLst/>
        </a:prstGeom>
        <a:solidFill>
          <a:schemeClr val="accent2">
            <a:hueOff val="5069316"/>
            <a:satOff val="-13013"/>
            <a:lumOff val="-3254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Hardware Controller</a:t>
          </a:r>
          <a:endParaRPr lang="en-US" sz="1500" kern="1200" dirty="0"/>
        </a:p>
      </dsp:txBody>
      <dsp:txXfrm>
        <a:off x="463868" y="1681076"/>
        <a:ext cx="1278622" cy="108727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7A8635-CE56-47EF-B490-D5DDB7A2249C}">
      <dsp:nvSpPr>
        <dsp:cNvPr id="0" name=""/>
        <dsp:cNvSpPr/>
      </dsp:nvSpPr>
      <dsp:spPr>
        <a:xfrm>
          <a:off x="0" y="0"/>
          <a:ext cx="396044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Integrity problems</a:t>
          </a:r>
          <a:endParaRPr lang="en-US" sz="1500" kern="1200" dirty="0"/>
        </a:p>
      </dsp:txBody>
      <dsp:txXfrm>
        <a:off x="17563" y="17563"/>
        <a:ext cx="3925314" cy="324648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4C9F8A-FD67-4728-AAC7-E0E2E201E1D3}">
      <dsp:nvSpPr>
        <dsp:cNvPr id="0" name=""/>
        <dsp:cNvSpPr/>
      </dsp:nvSpPr>
      <dsp:spPr>
        <a:xfrm>
          <a:off x="0" y="4778"/>
          <a:ext cx="396044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oncurrent access</a:t>
          </a:r>
          <a:endParaRPr lang="en-US" sz="1500" kern="1200" dirty="0"/>
        </a:p>
      </dsp:txBody>
      <dsp:txXfrm>
        <a:off x="17563" y="22341"/>
        <a:ext cx="3925314" cy="324648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D96BD7-958B-4FAE-BA0C-3D56CEBC2C26}">
      <dsp:nvSpPr>
        <dsp:cNvPr id="0" name=""/>
        <dsp:cNvSpPr/>
      </dsp:nvSpPr>
      <dsp:spPr>
        <a:xfrm>
          <a:off x="0" y="0"/>
          <a:ext cx="396044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Data redundancy</a:t>
          </a:r>
          <a:endParaRPr lang="en-US" sz="1500" kern="1200" dirty="0"/>
        </a:p>
      </dsp:txBody>
      <dsp:txXfrm>
        <a:off x="17563" y="17563"/>
        <a:ext cx="3925314" cy="324648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104D9C-B9FC-4F67-BF9A-57636F446B3E}">
      <dsp:nvSpPr>
        <dsp:cNvPr id="0" name=""/>
        <dsp:cNvSpPr/>
      </dsp:nvSpPr>
      <dsp:spPr>
        <a:xfrm>
          <a:off x="0" y="0"/>
          <a:ext cx="396044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Data Inconsistency</a:t>
          </a:r>
          <a:endParaRPr lang="en-US" sz="1500" kern="1200" dirty="0"/>
        </a:p>
      </dsp:txBody>
      <dsp:txXfrm>
        <a:off x="17563" y="17563"/>
        <a:ext cx="3925314" cy="324648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8C9E7C-7E43-4359-90C4-6D0CC8404608}">
      <dsp:nvSpPr>
        <dsp:cNvPr id="0" name=""/>
        <dsp:cNvSpPr/>
      </dsp:nvSpPr>
      <dsp:spPr>
        <a:xfrm>
          <a:off x="0" y="0"/>
          <a:ext cx="396044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Atomicity Problems</a:t>
          </a:r>
          <a:endParaRPr lang="en-US" sz="1500" kern="1200" dirty="0"/>
        </a:p>
      </dsp:txBody>
      <dsp:txXfrm>
        <a:off x="17563" y="17563"/>
        <a:ext cx="3925314" cy="324648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0E3D8A-2D37-4455-96E4-CE78290E219E}">
      <dsp:nvSpPr>
        <dsp:cNvPr id="0" name=""/>
        <dsp:cNvSpPr/>
      </dsp:nvSpPr>
      <dsp:spPr>
        <a:xfrm>
          <a:off x="0" y="4778"/>
          <a:ext cx="3312368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Inconsistency</a:t>
          </a:r>
          <a:endParaRPr lang="en-US" sz="1500" kern="1200" dirty="0"/>
        </a:p>
      </dsp:txBody>
      <dsp:txXfrm>
        <a:off x="17563" y="22341"/>
        <a:ext cx="3277242" cy="324648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84AF36-886F-4F8E-B299-BFFED737A39E}">
      <dsp:nvSpPr>
        <dsp:cNvPr id="0" name=""/>
        <dsp:cNvSpPr/>
      </dsp:nvSpPr>
      <dsp:spPr>
        <a:xfrm>
          <a:off x="0" y="4778"/>
          <a:ext cx="3312368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Integrity</a:t>
          </a:r>
          <a:endParaRPr lang="en-US" sz="1500" kern="1200" dirty="0"/>
        </a:p>
      </dsp:txBody>
      <dsp:txXfrm>
        <a:off x="17563" y="22341"/>
        <a:ext cx="3277242" cy="324648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0A7E13-5BA6-4137-9B5C-B6A0232509BE}">
      <dsp:nvSpPr>
        <dsp:cNvPr id="0" name=""/>
        <dsp:cNvSpPr/>
      </dsp:nvSpPr>
      <dsp:spPr>
        <a:xfrm>
          <a:off x="0" y="4778"/>
          <a:ext cx="3331975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Recovery services</a:t>
          </a:r>
          <a:endParaRPr lang="en-US" sz="1500" kern="1200" dirty="0"/>
        </a:p>
      </dsp:txBody>
      <dsp:txXfrm>
        <a:off x="17563" y="22341"/>
        <a:ext cx="3296849" cy="324648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21CF6D-1A60-48ED-B7EC-51D4CD9995A3}">
      <dsp:nvSpPr>
        <dsp:cNvPr id="0" name=""/>
        <dsp:cNvSpPr/>
      </dsp:nvSpPr>
      <dsp:spPr>
        <a:xfrm>
          <a:off x="0" y="4778"/>
          <a:ext cx="3331975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ontrolling Redundancy</a:t>
          </a:r>
          <a:endParaRPr lang="en-US" sz="1500" kern="1200" dirty="0"/>
        </a:p>
      </dsp:txBody>
      <dsp:txXfrm>
        <a:off x="17563" y="22341"/>
        <a:ext cx="3296849" cy="324648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239242-1E93-47C1-95AC-73576CE34002}">
      <dsp:nvSpPr>
        <dsp:cNvPr id="0" name=""/>
        <dsp:cNvSpPr/>
      </dsp:nvSpPr>
      <dsp:spPr>
        <a:xfrm>
          <a:off x="0" y="4778"/>
          <a:ext cx="3312368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Restricting unauthorized access</a:t>
          </a:r>
          <a:endParaRPr lang="en-US" sz="1500" kern="1200" dirty="0"/>
        </a:p>
      </dsp:txBody>
      <dsp:txXfrm>
        <a:off x="17563" y="22341"/>
        <a:ext cx="3277242" cy="3246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E51143-86F1-4CDB-88E9-6664EC088D2B}">
      <dsp:nvSpPr>
        <dsp:cNvPr id="0" name=""/>
        <dsp:cNvSpPr/>
      </dsp:nvSpPr>
      <dsp:spPr>
        <a:xfrm>
          <a:off x="1712501" y="685"/>
          <a:ext cx="1633883" cy="63888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evice Management</a:t>
          </a:r>
          <a:endParaRPr lang="en-US" sz="1600" kern="1200" dirty="0"/>
        </a:p>
      </dsp:txBody>
      <dsp:txXfrm>
        <a:off x="1731213" y="19397"/>
        <a:ext cx="1596459" cy="601465"/>
      </dsp:txXfrm>
    </dsp:sp>
    <dsp:sp modelId="{4D2E88C2-FD69-4465-8EEB-821CF1B16D5A}">
      <dsp:nvSpPr>
        <dsp:cNvPr id="0" name=""/>
        <dsp:cNvSpPr/>
      </dsp:nvSpPr>
      <dsp:spPr>
        <a:xfrm rot="3600000">
          <a:off x="2464446" y="1106060"/>
          <a:ext cx="1184837" cy="255187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2541002" y="1157097"/>
        <a:ext cx="1031725" cy="153113"/>
      </dsp:txXfrm>
    </dsp:sp>
    <dsp:sp modelId="{65788452-4BE9-49FD-A139-51284C668080}">
      <dsp:nvSpPr>
        <dsp:cNvPr id="0" name=""/>
        <dsp:cNvSpPr/>
      </dsp:nvSpPr>
      <dsp:spPr>
        <a:xfrm>
          <a:off x="2945399" y="1827732"/>
          <a:ext cx="1277779" cy="63888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Block Device</a:t>
          </a:r>
          <a:endParaRPr lang="en-US" sz="1600" kern="1200" dirty="0"/>
        </a:p>
      </dsp:txBody>
      <dsp:txXfrm>
        <a:off x="2964111" y="1846444"/>
        <a:ext cx="1240355" cy="601465"/>
      </dsp:txXfrm>
    </dsp:sp>
    <dsp:sp modelId="{10F24591-C92F-4D28-BB99-E3D217AE926C}">
      <dsp:nvSpPr>
        <dsp:cNvPr id="0" name=""/>
        <dsp:cNvSpPr/>
      </dsp:nvSpPr>
      <dsp:spPr>
        <a:xfrm rot="10800000">
          <a:off x="2444002" y="2035371"/>
          <a:ext cx="445685" cy="223611"/>
        </a:xfrm>
        <a:prstGeom prst="left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solidFill>
            <a:schemeClr val="bg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2511085" y="2080093"/>
        <a:ext cx="311519" cy="134167"/>
      </dsp:txXfrm>
    </dsp:sp>
    <dsp:sp modelId="{AAEE297A-253E-409B-8C98-AF40FA47262A}">
      <dsp:nvSpPr>
        <dsp:cNvPr id="0" name=""/>
        <dsp:cNvSpPr/>
      </dsp:nvSpPr>
      <dsp:spPr>
        <a:xfrm>
          <a:off x="560901" y="1827732"/>
          <a:ext cx="1827390" cy="63888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haracter Device </a:t>
          </a:r>
          <a:endParaRPr lang="en-US" sz="1600" kern="1200" dirty="0"/>
        </a:p>
      </dsp:txBody>
      <dsp:txXfrm>
        <a:off x="579613" y="1846444"/>
        <a:ext cx="1789966" cy="601465"/>
      </dsp:txXfrm>
    </dsp:sp>
    <dsp:sp modelId="{CB033CE0-6666-4782-B805-6F90415335CB}">
      <dsp:nvSpPr>
        <dsp:cNvPr id="0" name=""/>
        <dsp:cNvSpPr/>
      </dsp:nvSpPr>
      <dsp:spPr>
        <a:xfrm rot="18000000">
          <a:off x="1430445" y="1129883"/>
          <a:ext cx="1143148" cy="207540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1492707" y="1171391"/>
        <a:ext cx="1018624" cy="124524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46686E-58E5-4CDE-8C41-DCE6262D1FB9}">
      <dsp:nvSpPr>
        <dsp:cNvPr id="0" name=""/>
        <dsp:cNvSpPr/>
      </dsp:nvSpPr>
      <dsp:spPr>
        <a:xfrm>
          <a:off x="0" y="4778"/>
          <a:ext cx="3312368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oncurrency Control</a:t>
          </a:r>
          <a:endParaRPr lang="en-US" sz="1500" kern="1200" dirty="0"/>
        </a:p>
      </dsp:txBody>
      <dsp:txXfrm>
        <a:off x="17563" y="22341"/>
        <a:ext cx="3277242" cy="32464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9F5EE1-100B-4010-8E81-F884437A4C53}">
      <dsp:nvSpPr>
        <dsp:cNvPr id="0" name=""/>
        <dsp:cNvSpPr/>
      </dsp:nvSpPr>
      <dsp:spPr>
        <a:xfrm>
          <a:off x="887048" y="926080"/>
          <a:ext cx="818190" cy="81819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Memory Management </a:t>
          </a:r>
          <a:endParaRPr lang="en-US" sz="1100" kern="1200" dirty="0"/>
        </a:p>
      </dsp:txBody>
      <dsp:txXfrm>
        <a:off x="1006869" y="1045901"/>
        <a:ext cx="578548" cy="578548"/>
      </dsp:txXfrm>
    </dsp:sp>
    <dsp:sp modelId="{34B55A89-74DA-4109-A603-93E27CD2EF30}">
      <dsp:nvSpPr>
        <dsp:cNvPr id="0" name=""/>
        <dsp:cNvSpPr/>
      </dsp:nvSpPr>
      <dsp:spPr>
        <a:xfrm rot="12900000">
          <a:off x="329206" y="772610"/>
          <a:ext cx="660041" cy="23318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F88E63-24BE-4528-8F35-301BBF075C44}">
      <dsp:nvSpPr>
        <dsp:cNvPr id="0" name=""/>
        <dsp:cNvSpPr/>
      </dsp:nvSpPr>
      <dsp:spPr>
        <a:xfrm>
          <a:off x="249" y="388997"/>
          <a:ext cx="777281" cy="6218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Buddy System</a:t>
          </a:r>
          <a:endParaRPr lang="en-US" sz="1400" kern="1200" dirty="0"/>
        </a:p>
      </dsp:txBody>
      <dsp:txXfrm>
        <a:off x="18462" y="407210"/>
        <a:ext cx="740855" cy="585399"/>
      </dsp:txXfrm>
    </dsp:sp>
    <dsp:sp modelId="{11657F35-32BD-4DA9-A6D4-4EACECE3F9AC}">
      <dsp:nvSpPr>
        <dsp:cNvPr id="0" name=""/>
        <dsp:cNvSpPr/>
      </dsp:nvSpPr>
      <dsp:spPr>
        <a:xfrm rot="19500000">
          <a:off x="1603039" y="772610"/>
          <a:ext cx="660041" cy="23318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6307FB-E60E-40B4-B22B-D715E3BD6A5B}">
      <dsp:nvSpPr>
        <dsp:cNvPr id="0" name=""/>
        <dsp:cNvSpPr/>
      </dsp:nvSpPr>
      <dsp:spPr>
        <a:xfrm>
          <a:off x="1814757" y="388997"/>
          <a:ext cx="777281" cy="6218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LRU</a:t>
          </a:r>
          <a:endParaRPr lang="en-US" sz="1400" kern="1200" dirty="0"/>
        </a:p>
      </dsp:txBody>
      <dsp:txXfrm>
        <a:off x="1832970" y="407210"/>
        <a:ext cx="740855" cy="5853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04D0C0-65BE-4ECE-931E-77C13A99999C}">
      <dsp:nvSpPr>
        <dsp:cNvPr id="0" name=""/>
        <dsp:cNvSpPr/>
      </dsp:nvSpPr>
      <dsp:spPr>
        <a:xfrm>
          <a:off x="-2929267" y="-451273"/>
          <a:ext cx="3494835" cy="3494835"/>
        </a:xfrm>
        <a:prstGeom prst="blockArc">
          <a:avLst>
            <a:gd name="adj1" fmla="val 18900000"/>
            <a:gd name="adj2" fmla="val 2700000"/>
            <a:gd name="adj3" fmla="val 618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B0A41B-13B6-4D41-BA9A-B866E3467B52}">
      <dsp:nvSpPr>
        <dsp:cNvPr id="0" name=""/>
        <dsp:cNvSpPr/>
      </dsp:nvSpPr>
      <dsp:spPr>
        <a:xfrm>
          <a:off x="363640" y="259228"/>
          <a:ext cx="4896863" cy="518457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1526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>
              <a:solidFill>
                <a:schemeClr val="bg2">
                  <a:lumMod val="25000"/>
                </a:schemeClr>
              </a:solidFill>
            </a:rPr>
            <a:t>PRESENTATION LAYER</a:t>
          </a:r>
          <a:endParaRPr lang="en-US" sz="2600" kern="1200" dirty="0">
            <a:solidFill>
              <a:schemeClr val="bg2">
                <a:lumMod val="25000"/>
              </a:schemeClr>
            </a:solidFill>
          </a:endParaRPr>
        </a:p>
      </dsp:txBody>
      <dsp:txXfrm>
        <a:off x="363640" y="259228"/>
        <a:ext cx="4896863" cy="518457"/>
      </dsp:txXfrm>
    </dsp:sp>
    <dsp:sp modelId="{2809824C-C96F-4220-97AC-0B8950352ED2}">
      <dsp:nvSpPr>
        <dsp:cNvPr id="0" name=""/>
        <dsp:cNvSpPr/>
      </dsp:nvSpPr>
      <dsp:spPr>
        <a:xfrm>
          <a:off x="39604" y="194421"/>
          <a:ext cx="648072" cy="648072"/>
        </a:xfrm>
        <a:prstGeom prst="ellipse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5693F0-6E54-42C8-9E78-3CBC2BAE04A9}">
      <dsp:nvSpPr>
        <dsp:cNvPr id="0" name=""/>
        <dsp:cNvSpPr/>
      </dsp:nvSpPr>
      <dsp:spPr>
        <a:xfrm>
          <a:off x="552100" y="1036915"/>
          <a:ext cx="4708404" cy="518457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1526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>
              <a:solidFill>
                <a:schemeClr val="bg2">
                  <a:lumMod val="25000"/>
                </a:schemeClr>
              </a:solidFill>
            </a:rPr>
            <a:t>BUSINESS LOGIC LAYER</a:t>
          </a:r>
          <a:endParaRPr lang="en-US" sz="2600" kern="1200" dirty="0">
            <a:solidFill>
              <a:schemeClr val="bg2">
                <a:lumMod val="25000"/>
              </a:schemeClr>
            </a:solidFill>
          </a:endParaRPr>
        </a:p>
      </dsp:txBody>
      <dsp:txXfrm>
        <a:off x="552100" y="1036915"/>
        <a:ext cx="4708404" cy="518457"/>
      </dsp:txXfrm>
    </dsp:sp>
    <dsp:sp modelId="{690650B8-33BF-4D03-BD7A-B62C3563ECC4}">
      <dsp:nvSpPr>
        <dsp:cNvPr id="0" name=""/>
        <dsp:cNvSpPr/>
      </dsp:nvSpPr>
      <dsp:spPr>
        <a:xfrm>
          <a:off x="251887" y="942199"/>
          <a:ext cx="648072" cy="648072"/>
        </a:xfrm>
        <a:prstGeom prst="ellipse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D0751A-AC2C-4901-961C-CF485729D4DA}">
      <dsp:nvSpPr>
        <dsp:cNvPr id="0" name=""/>
        <dsp:cNvSpPr/>
      </dsp:nvSpPr>
      <dsp:spPr>
        <a:xfrm>
          <a:off x="363640" y="1814601"/>
          <a:ext cx="4896863" cy="518457"/>
        </a:xfrm>
        <a:prstGeom prst="rect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1526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>
              <a:solidFill>
                <a:schemeClr val="bg2">
                  <a:lumMod val="25000"/>
                </a:schemeClr>
              </a:solidFill>
            </a:rPr>
            <a:t>DATA ACCESS LAYER</a:t>
          </a:r>
          <a:endParaRPr lang="en-US" sz="2600" kern="1200" dirty="0">
            <a:solidFill>
              <a:schemeClr val="bg2">
                <a:lumMod val="25000"/>
              </a:schemeClr>
            </a:solidFill>
          </a:endParaRPr>
        </a:p>
      </dsp:txBody>
      <dsp:txXfrm>
        <a:off x="363640" y="1814601"/>
        <a:ext cx="4896863" cy="518457"/>
      </dsp:txXfrm>
    </dsp:sp>
    <dsp:sp modelId="{2CD20459-9E8D-4304-80AF-1C42F5DF85D8}">
      <dsp:nvSpPr>
        <dsp:cNvPr id="0" name=""/>
        <dsp:cNvSpPr/>
      </dsp:nvSpPr>
      <dsp:spPr>
        <a:xfrm>
          <a:off x="112441" y="1728194"/>
          <a:ext cx="648072" cy="648072"/>
        </a:xfrm>
        <a:prstGeom prst="ellipse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947C43-33ED-4FAD-A699-B587B8257B30}">
      <dsp:nvSpPr>
        <dsp:cNvPr id="0" name=""/>
        <dsp:cNvSpPr/>
      </dsp:nvSpPr>
      <dsp:spPr>
        <a:xfrm>
          <a:off x="0" y="4778"/>
          <a:ext cx="5688632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Flat file based database management systems</a:t>
          </a:r>
          <a:endParaRPr lang="en-US" sz="1500" kern="1200" dirty="0"/>
        </a:p>
      </dsp:txBody>
      <dsp:txXfrm>
        <a:off x="17563" y="22341"/>
        <a:ext cx="5653506" cy="32464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07ACC1-270D-4385-AEEF-FDA861B7A845}">
      <dsp:nvSpPr>
        <dsp:cNvPr id="0" name=""/>
        <dsp:cNvSpPr/>
      </dsp:nvSpPr>
      <dsp:spPr>
        <a:xfrm>
          <a:off x="0" y="4778"/>
          <a:ext cx="5700262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Hierarchical database management systems</a:t>
          </a:r>
          <a:endParaRPr lang="en-US" sz="1500" kern="1200" dirty="0"/>
        </a:p>
      </dsp:txBody>
      <dsp:txXfrm>
        <a:off x="17563" y="22341"/>
        <a:ext cx="5665136" cy="32464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AB1CEB-B4F6-4275-8D31-7399E09EB115}">
      <dsp:nvSpPr>
        <dsp:cNvPr id="0" name=""/>
        <dsp:cNvSpPr/>
      </dsp:nvSpPr>
      <dsp:spPr>
        <a:xfrm>
          <a:off x="0" y="4778"/>
          <a:ext cx="5678896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Network database management systems</a:t>
          </a:r>
          <a:endParaRPr lang="en-US" sz="1500" kern="1200" dirty="0"/>
        </a:p>
      </dsp:txBody>
      <dsp:txXfrm>
        <a:off x="17563" y="22341"/>
        <a:ext cx="5643770" cy="32464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21784B-069A-4A22-84A9-3BB43E1CBB1A}">
      <dsp:nvSpPr>
        <dsp:cNvPr id="0" name=""/>
        <dsp:cNvSpPr/>
      </dsp:nvSpPr>
      <dsp:spPr>
        <a:xfrm>
          <a:off x="0" y="4778"/>
          <a:ext cx="5700262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Object oriented database management systems</a:t>
          </a:r>
          <a:endParaRPr lang="en-US" sz="1500" kern="1200" dirty="0"/>
        </a:p>
      </dsp:txBody>
      <dsp:txXfrm>
        <a:off x="17563" y="22341"/>
        <a:ext cx="5665136" cy="324648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E58174-EEBB-4C39-A14C-E90F314FD54C}">
      <dsp:nvSpPr>
        <dsp:cNvPr id="0" name=""/>
        <dsp:cNvSpPr/>
      </dsp:nvSpPr>
      <dsp:spPr>
        <a:xfrm>
          <a:off x="0" y="4778"/>
          <a:ext cx="5688632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Relational database management systems</a:t>
          </a:r>
          <a:endParaRPr lang="en-US" sz="1500" kern="1200" dirty="0"/>
        </a:p>
      </dsp:txBody>
      <dsp:txXfrm>
        <a:off x="17563" y="22341"/>
        <a:ext cx="5653506" cy="3246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mtClean="0"/>
              <a:pPr/>
              <a:t>07/04/2018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pPr/>
              <a:t>07/04/2018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6616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923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0943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xmlns="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" b="46599"/>
          <a:stretch/>
        </p:blipFill>
        <p:spPr>
          <a:xfrm flipH="1">
            <a:off x="3773714" y="1844825"/>
            <a:ext cx="8418286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4032" y="4157668"/>
            <a:ext cx="5399981" cy="1079500"/>
          </a:xfrm>
        </p:spPr>
        <p:txBody>
          <a:bodyPr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2672" y="5381481"/>
            <a:ext cx="5401341" cy="1079500"/>
          </a:xfrm>
        </p:spPr>
        <p:txBody>
          <a:bodyPr anchor="t">
            <a:normAutofit/>
          </a:bodyPr>
          <a:lstStyle>
            <a:lvl1pPr marL="0" algn="r">
              <a:lnSpc>
                <a:spcPts val="22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548120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39" name="Text Placeholder 7">
            <a:extLst>
              <a:ext uri="{FF2B5EF4-FFF2-40B4-BE49-F238E27FC236}">
                <a16:creationId xmlns:a16="http://schemas.microsoft.com/office/drawing/2014/main" xmlns="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75612" y="126841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xmlns="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5612" y="19275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xmlns="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5612" y="258666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xmlns="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75612" y="3245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xmlns="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75612" y="390491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xmlns="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75612" y="45640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xmlns="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75612" y="522316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xmlns="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5612" y="58822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xmlns="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5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6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>
                <a:lumMod val="9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74778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xmlns="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7809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488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xmlns="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xmlns="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9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1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99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5932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5" y="24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" y="24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98021" y="2111956"/>
            <a:ext cx="11793979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98143" y="1495447"/>
            <a:ext cx="11813715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77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AF4F1FB-F58A-402C-B9C9-1F90694A5B9C}" type="datetimeFigureOut">
              <a:rPr lang="en-US" smtClean="0"/>
              <a:t>4/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815F728-0559-4C80-AFBF-96427A04385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021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xmlns="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" b="46599"/>
          <a:stretch/>
        </p:blipFill>
        <p:spPr>
          <a:xfrm flipH="1">
            <a:off x="3773714" y="1844825"/>
            <a:ext cx="8418286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4032" y="4157668"/>
            <a:ext cx="5399981" cy="1079500"/>
          </a:xfrm>
        </p:spPr>
        <p:txBody>
          <a:bodyPr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2672" y="5381481"/>
            <a:ext cx="5401341" cy="1079500"/>
          </a:xfrm>
        </p:spPr>
        <p:txBody>
          <a:bodyPr anchor="t">
            <a:normAutofit/>
          </a:bodyPr>
          <a:lstStyle>
            <a:lvl1pPr marL="0" algn="r">
              <a:lnSpc>
                <a:spcPts val="22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1534953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B10E92A-A728-4C77-8191-62741A338FCB}" type="datetimeFigureOut">
              <a:rPr lang="en-US" smtClean="0"/>
              <a:t>4/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BAD677-CDED-453D-A17F-05E15E662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6001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B987D8C-64E0-4D2B-9951-A57E1E3413AC}" type="datetimeFigureOut">
              <a:rPr lang="en-IN" smtClean="0"/>
              <a:t>07-04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41118F4-6E95-4522-8A42-C9A8A06693A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61603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xmlns="" id="{7D1DC75A-C7A4-44A4-B19C-D445335545B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07988" y="2276872"/>
            <a:ext cx="5399980" cy="86995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xmlns="" id="{563879A0-0979-491A-8758-371BB7AD935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07988" y="3261834"/>
            <a:ext cx="5399980" cy="1196340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sp>
        <p:nvSpPr>
          <p:cNvPr id="4" name="Freeform 11"/>
          <p:cNvSpPr>
            <a:spLocks/>
          </p:cNvSpPr>
          <p:nvPr userDrawn="1"/>
        </p:nvSpPr>
        <p:spPr bwMode="auto">
          <a:xfrm rot="16200000" flipH="1">
            <a:off x="6370124" y="13910"/>
            <a:ext cx="6353908" cy="6326091"/>
          </a:xfrm>
          <a:custGeom>
            <a:avLst/>
            <a:gdLst>
              <a:gd name="T0" fmla="*/ 909 w 1432"/>
              <a:gd name="T1" fmla="*/ 1425 h 1425"/>
              <a:gd name="T2" fmla="*/ 934 w 1432"/>
              <a:gd name="T3" fmla="*/ 0 h 1425"/>
              <a:gd name="T4" fmla="*/ 0 w 1432"/>
              <a:gd name="T5" fmla="*/ 231 h 1425"/>
              <a:gd name="T6" fmla="*/ 0 w 1432"/>
              <a:gd name="T7" fmla="*/ 1425 h 1425"/>
              <a:gd name="T8" fmla="*/ 909 w 1432"/>
              <a:gd name="T9" fmla="*/ 1425 h 1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2" h="1425">
                <a:moveTo>
                  <a:pt x="909" y="1425"/>
                </a:moveTo>
                <a:cubicBezTo>
                  <a:pt x="1358" y="720"/>
                  <a:pt x="1432" y="301"/>
                  <a:pt x="934" y="0"/>
                </a:cubicBezTo>
                <a:cubicBezTo>
                  <a:pt x="392" y="295"/>
                  <a:pt x="129" y="297"/>
                  <a:pt x="0" y="231"/>
                </a:cubicBezTo>
                <a:cubicBezTo>
                  <a:pt x="0" y="1425"/>
                  <a:pt x="0" y="1425"/>
                  <a:pt x="0" y="1425"/>
                </a:cubicBezTo>
                <a:lnTo>
                  <a:pt x="909" y="14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9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66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 (Image placeholde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xmlns="" id="{25D6B527-14EF-4F30-9C9C-691EC4327E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98310" y="-1588"/>
            <a:ext cx="7893690" cy="68595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B83CBA49-BBF9-4CF0-9E0B-FF67BA1496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3068960"/>
            <a:ext cx="4103688" cy="86360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rgbClr val="0070AD"/>
                </a:solidFill>
              </a:defRPr>
            </a:lvl1pPr>
            <a:lvl2pPr>
              <a:defRPr sz="24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F4C94DDB-5E07-4F17-ABAA-3E9C5E868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4040163"/>
            <a:ext cx="4103688" cy="1189037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0070AD"/>
                </a:solidFill>
              </a:defRPr>
            </a:lvl1pPr>
            <a:lvl2pPr>
              <a:defRPr sz="16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pic>
        <p:nvPicPr>
          <p:cNvPr id="9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pic>
        <p:nvPicPr>
          <p:cNvPr id="10" name="Picture 9" descr="Our_Universcity_Logotype-01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407368" y="1196752"/>
            <a:ext cx="2232248" cy="538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940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634" userDrawn="1">
          <p15:clr>
            <a:srgbClr val="FBAE40"/>
          </p15:clr>
        </p15:guide>
        <p15:guide id="3" pos="7219" userDrawn="1">
          <p15:clr>
            <a:srgbClr val="FBAE40"/>
          </p15:clr>
        </p15:guide>
        <p15:guide id="4" orient="horz" pos="2614" userDrawn="1">
          <p15:clr>
            <a:srgbClr val="FBAE40"/>
          </p15:clr>
        </p15:guide>
        <p15:guide id="5" orient="horz" pos="3203" userDrawn="1">
          <p15:clr>
            <a:srgbClr val="FBAE40"/>
          </p15:clr>
        </p15:guide>
        <p15:guide id="6" orient="horz" pos="395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9"/>
          <p:cNvSpPr>
            <a:spLocks/>
          </p:cNvSpPr>
          <p:nvPr userDrawn="1"/>
        </p:nvSpPr>
        <p:spPr bwMode="auto">
          <a:xfrm>
            <a:off x="-312712" y="0"/>
            <a:ext cx="8760296" cy="8102938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4 h 1514"/>
              <a:gd name="T4" fmla="*/ 763 w 1637"/>
              <a:gd name="T5" fmla="*/ 1046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4"/>
                </a:cubicBezTo>
                <a:cubicBezTo>
                  <a:pt x="840" y="663"/>
                  <a:pt x="594" y="755"/>
                  <a:pt x="763" y="1046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34513"/>
            <a:ext cx="5471988" cy="16983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ts val="3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11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681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23077" b="19676"/>
          <a:stretch/>
        </p:blipFill>
        <p:spPr>
          <a:xfrm rot="16200000">
            <a:off x="5413032" y="79029"/>
            <a:ext cx="6857997" cy="6699938"/>
          </a:xfrm>
          <a:prstGeom prst="rect">
            <a:avLst/>
          </a:prstGeom>
        </p:spPr>
      </p:pic>
      <p:sp>
        <p:nvSpPr>
          <p:cNvPr id="50" name="Text Placeholder 7">
            <a:extLst>
              <a:ext uri="{FF2B5EF4-FFF2-40B4-BE49-F238E27FC236}">
                <a16:creationId xmlns:a16="http://schemas.microsoft.com/office/drawing/2014/main" xmlns="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xmlns="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xmlns="" id="{4212BD44-DEDF-4B08-8824-204652F9616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53200" y="2060575"/>
            <a:ext cx="4910138" cy="272256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xmlns="" id="{92D6AE9D-467E-46C0-B32B-79A9B07CDD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xmlns="" id="{D67A1EFD-D78D-4138-B2FE-E0A098B59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cxnSp>
        <p:nvCxnSpPr>
          <p:cNvPr id="11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7">
            <a:hlinkClick r:id="rId6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23991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2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3">
            <a:extLst>
              <a:ext uri="{FF2B5EF4-FFF2-40B4-BE49-F238E27FC236}">
                <a16:creationId xmlns:a16="http://schemas.microsoft.com/office/drawing/2014/main" xmlns="" id="{7D1DC75A-C7A4-44A4-B19C-D445335545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2204864"/>
            <a:ext cx="3618859" cy="292462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ts val="6200"/>
              </a:lnSpc>
              <a:defRPr sz="5400">
                <a:solidFill>
                  <a:srgbClr val="2C004B"/>
                </a:solidFill>
              </a:defRPr>
            </a:lvl1pPr>
            <a:lvl2pPr marL="457200" indent="0">
              <a:lnSpc>
                <a:spcPts val="6200"/>
              </a:lnSpc>
              <a:buNone/>
              <a:defRPr sz="54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xmlns="" id="{563879A0-0979-491A-8758-371BB7AD93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273460"/>
            <a:ext cx="3618859" cy="6758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2C004B"/>
                </a:solidFill>
              </a:defRPr>
            </a:lvl1pPr>
            <a:lvl2pPr marL="457200" indent="0">
              <a:buNone/>
              <a:defRPr sz="18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A76958A6-8FB1-445D-BB17-D619DC39E089}"/>
              </a:ext>
            </a:extLst>
          </p:cNvPr>
          <p:cNvGrpSpPr/>
          <p:nvPr userDrawn="1"/>
        </p:nvGrpSpPr>
        <p:grpSpPr>
          <a:xfrm>
            <a:off x="3461852" y="0"/>
            <a:ext cx="8730148" cy="6858000"/>
            <a:chOff x="3461852" y="0"/>
            <a:chExt cx="8730148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xmlns="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xmlns="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xmlns="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  <p:sp>
        <p:nvSpPr>
          <p:cNvPr id="8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949665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15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0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16643351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25831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>
            <a:extLst>
              <a:ext uri="{FF2B5EF4-FFF2-40B4-BE49-F238E27FC236}">
                <a16:creationId xmlns:a16="http://schemas.microsoft.com/office/drawing/2014/main" xmlns="" id="{7B710EB7-4E56-449A-B5D4-12A5A50A25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428075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17" name="Chart Placeholder 16">
            <a:extLst>
              <a:ext uri="{FF2B5EF4-FFF2-40B4-BE49-F238E27FC236}">
                <a16:creationId xmlns:a16="http://schemas.microsoft.com/office/drawing/2014/main" xmlns="" id="{6093AB2F-A9E2-4259-8D2A-0E33C88FF1BC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07988" y="1824707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8" name="Chart Placeholder 16">
            <a:extLst>
              <a:ext uri="{FF2B5EF4-FFF2-40B4-BE49-F238E27FC236}">
                <a16:creationId xmlns:a16="http://schemas.microsoft.com/office/drawing/2014/main" xmlns="" id="{FFC514B9-95FB-485B-B1AD-4193B231090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240463" y="1824707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xmlns="" id="{212267A8-F086-40EB-BC5F-D9FE817250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3" y="1412875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3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xmlns="" id="{7B710EB7-4E56-449A-B5D4-12A5A50A25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4081447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26" name="Chart Placeholder 16">
            <a:extLst>
              <a:ext uri="{FF2B5EF4-FFF2-40B4-BE49-F238E27FC236}">
                <a16:creationId xmlns:a16="http://schemas.microsoft.com/office/drawing/2014/main" xmlns="" id="{6093AB2F-A9E2-4259-8D2A-0E33C88FF1BC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07988" y="4478079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7" name="Chart Placeholder 16">
            <a:extLst>
              <a:ext uri="{FF2B5EF4-FFF2-40B4-BE49-F238E27FC236}">
                <a16:creationId xmlns:a16="http://schemas.microsoft.com/office/drawing/2014/main" xmlns="" id="{FFC514B9-95FB-485B-B1AD-4193B2310907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40463" y="4478079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xmlns="" id="{212267A8-F086-40EB-BC5F-D9FE817250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40463" y="4066247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2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3753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4.sv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13387"/>
            <a:ext cx="11376025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412875"/>
            <a:ext cx="11376024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37862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21" r:id="rId2"/>
    <p:sldLayoutId id="2147483720" r:id="rId3"/>
  </p:sldLayoutIdLst>
  <p:hf sldNum="0" hd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25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8" y="418452"/>
            <a:ext cx="11083532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68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12496801" y="1590548"/>
            <a:ext cx="595070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apgemini Blue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12</a:t>
            </a:r>
          </a:p>
          <a:p>
            <a:pPr marL="171450"/>
            <a:r>
              <a:rPr lang="en-US" sz="600" dirty="0"/>
              <a:t>B 173</a:t>
            </a:r>
          </a:p>
        </p:txBody>
      </p:sp>
      <p:sp>
        <p:nvSpPr>
          <p:cNvPr id="6" name="Rectangle 5"/>
          <p:cNvSpPr/>
          <p:nvPr/>
        </p:nvSpPr>
        <p:spPr>
          <a:xfrm>
            <a:off x="13091871" y="1590548"/>
            <a:ext cx="595070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</a:p>
          <a:p>
            <a:pPr marL="171450"/>
            <a:r>
              <a:rPr lang="en-US" sz="600" dirty="0"/>
              <a:t>R 18</a:t>
            </a:r>
          </a:p>
          <a:p>
            <a:pPr marL="171450"/>
            <a:r>
              <a:rPr lang="en-US" sz="600" dirty="0"/>
              <a:t>G 171</a:t>
            </a:r>
          </a:p>
          <a:p>
            <a:pPr marL="171450"/>
            <a:r>
              <a:rPr lang="en-US" sz="600" dirty="0"/>
              <a:t>B 219</a:t>
            </a:r>
          </a:p>
        </p:txBody>
      </p:sp>
      <p:sp>
        <p:nvSpPr>
          <p:cNvPr id="7" name="Rectangle 6"/>
          <p:cNvSpPr/>
          <p:nvPr/>
        </p:nvSpPr>
        <p:spPr>
          <a:xfrm>
            <a:off x="13686941" y="1590548"/>
            <a:ext cx="595070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eep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43</a:t>
            </a:r>
          </a:p>
          <a:p>
            <a:pPr marL="171450"/>
            <a:r>
              <a:rPr lang="en-US" sz="600" dirty="0"/>
              <a:t>G 10</a:t>
            </a:r>
          </a:p>
          <a:p>
            <a:pPr marL="171450"/>
            <a:r>
              <a:rPr lang="en-US" sz="600" dirty="0"/>
              <a:t>B 61</a:t>
            </a:r>
          </a:p>
        </p:txBody>
      </p:sp>
      <p:sp>
        <p:nvSpPr>
          <p:cNvPr id="8" name="Rectangle 7"/>
          <p:cNvSpPr/>
          <p:nvPr/>
        </p:nvSpPr>
        <p:spPr>
          <a:xfrm>
            <a:off x="14282011" y="1590548"/>
            <a:ext cx="595070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Tech</a:t>
            </a:r>
            <a:br>
              <a:rPr lang="en-US" sz="600" b="1" dirty="0"/>
            </a:br>
            <a:r>
              <a:rPr lang="en-US" sz="600" b="1" dirty="0"/>
              <a:t>Red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48</a:t>
            </a:r>
          </a:p>
          <a:p>
            <a:pPr marL="171450"/>
            <a:r>
              <a:rPr lang="en-US" sz="60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4877081" y="1590548"/>
            <a:ext cx="595070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Zes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149</a:t>
            </a:r>
          </a:p>
          <a:p>
            <a:pPr marL="171450"/>
            <a:r>
              <a:rPr lang="en-US" sz="600" dirty="0"/>
              <a:t>G 230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2496801" y="2468607"/>
            <a:ext cx="595070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Capgemini 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28</a:t>
            </a:r>
          </a:p>
          <a:p>
            <a:pPr marL="171450"/>
            <a:r>
              <a:rPr lang="en-US" sz="600" dirty="0"/>
              <a:t>G 184</a:t>
            </a:r>
          </a:p>
          <a:p>
            <a:pPr marL="171450"/>
            <a:r>
              <a:rPr lang="en-US" sz="60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091871" y="2468607"/>
            <a:ext cx="595070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36</a:t>
            </a:r>
          </a:p>
          <a:p>
            <a:pPr marL="171450"/>
            <a:r>
              <a:rPr lang="en-US" sz="600" dirty="0"/>
              <a:t>G 213</a:t>
            </a:r>
          </a:p>
          <a:p>
            <a:pPr marL="171450"/>
            <a:r>
              <a:rPr lang="en-US" sz="600" dirty="0"/>
              <a:t>B 23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3686941" y="2468607"/>
            <a:ext cx="595070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09</a:t>
            </a:r>
          </a:p>
          <a:p>
            <a:pPr marL="171450"/>
            <a:r>
              <a:rPr lang="en-US" sz="600" dirty="0"/>
              <a:t>G 100</a:t>
            </a:r>
          </a:p>
          <a:p>
            <a:pPr marL="171450"/>
            <a:r>
              <a:rPr lang="en-US" sz="600" dirty="0"/>
              <a:t>B 20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4282011" y="2468607"/>
            <a:ext cx="595070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Orange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39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4877081" y="2468607"/>
            <a:ext cx="595070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00</a:t>
            </a:r>
          </a:p>
          <a:p>
            <a:pPr marL="171450"/>
            <a:r>
              <a:rPr lang="en-US" sz="600" dirty="0"/>
              <a:t>G 255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686941" y="3089930"/>
            <a:ext cx="595070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26</a:t>
            </a:r>
          </a:p>
          <a:p>
            <a:pPr marL="171450"/>
            <a:r>
              <a:rPr lang="en-US" sz="600" dirty="0"/>
              <a:t>G 57</a:t>
            </a:r>
          </a:p>
          <a:p>
            <a:pPr marL="171450"/>
            <a:r>
              <a:rPr lang="en-US" sz="600" dirty="0"/>
              <a:t>B 18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877081" y="3089930"/>
            <a:ext cx="595070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95</a:t>
            </a:r>
          </a:p>
          <a:p>
            <a:pPr marL="171450"/>
            <a:r>
              <a:rPr lang="en-US" sz="600" dirty="0"/>
              <a:t>B 12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4877081" y="4948917"/>
            <a:ext cx="595070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1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107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4877081" y="4330085"/>
            <a:ext cx="595070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5</a:t>
            </a:r>
          </a:p>
          <a:p>
            <a:pPr marL="171450"/>
            <a:r>
              <a:rPr lang="en-US" sz="600" dirty="0"/>
              <a:t>G 153</a:t>
            </a:r>
          </a:p>
          <a:p>
            <a:pPr marL="171450"/>
            <a:r>
              <a:rPr lang="en-US" sz="600" dirty="0"/>
              <a:t>B 15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4877081" y="3711253"/>
            <a:ext cx="595070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</a:t>
            </a:r>
          </a:p>
          <a:p>
            <a:pPr marL="171450"/>
            <a:r>
              <a:rPr lang="en-US" sz="600" dirty="0"/>
              <a:t>G 209</a:t>
            </a:r>
          </a:p>
          <a:p>
            <a:pPr marL="171450"/>
            <a:r>
              <a:rPr lang="en-US" sz="600" dirty="0"/>
              <a:t>B 208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4282011" y="3089930"/>
            <a:ext cx="595070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each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126</a:t>
            </a:r>
          </a:p>
          <a:p>
            <a:pPr marL="171450"/>
            <a:r>
              <a:rPr lang="en-US" sz="600" dirty="0"/>
              <a:t>B 13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4282011" y="3711253"/>
            <a:ext cx="595070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Light</a:t>
            </a:r>
            <a:br>
              <a:rPr lang="en-US" sz="600" b="1" dirty="0"/>
            </a:b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203</a:t>
            </a:r>
          </a:p>
          <a:p>
            <a:pPr marL="171450"/>
            <a:r>
              <a:rPr lang="en-US" sz="600" dirty="0"/>
              <a:t>G 41</a:t>
            </a:r>
          </a:p>
          <a:p>
            <a:pPr marL="171450"/>
            <a:r>
              <a:rPr lang="en-US" sz="600" dirty="0"/>
              <a:t>B 12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4282011" y="4330085"/>
            <a:ext cx="595070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134</a:t>
            </a:r>
          </a:p>
          <a:p>
            <a:pPr marL="171450"/>
            <a:r>
              <a:rPr lang="en-US" sz="600" dirty="0"/>
              <a:t>G 8</a:t>
            </a:r>
          </a:p>
          <a:p>
            <a:pPr marL="171450"/>
            <a:r>
              <a:rPr lang="en-US" sz="600" dirty="0"/>
              <a:t>B 100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2496801" y="1405970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2496801" y="2285400"/>
            <a:ext cx="84318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3686941" y="1405970"/>
            <a:ext cx="753411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3686941" y="3711253"/>
            <a:ext cx="595070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71</a:t>
            </a:r>
          </a:p>
          <a:p>
            <a:pPr marL="171450"/>
            <a:r>
              <a:rPr lang="en-US" sz="600" dirty="0"/>
              <a:t>G 1</a:t>
            </a:r>
          </a:p>
          <a:p>
            <a:pPr marL="171450"/>
            <a:r>
              <a:rPr lang="en-US" sz="60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22" r:id="rId2"/>
    <p:sldLayoutId id="2147483672" r:id="rId3"/>
    <p:sldLayoutId id="2147483811" r:id="rId4"/>
    <p:sldLayoutId id="2147483781" r:id="rId5"/>
    <p:sldLayoutId id="2147483780" r:id="rId6"/>
    <p:sldLayoutId id="2147483734" r:id="rId7"/>
    <p:sldLayoutId id="2147483735" r:id="rId8"/>
    <p:sldLayoutId id="2147483812" r:id="rId9"/>
    <p:sldLayoutId id="2147483813" r:id="rId10"/>
    <p:sldLayoutId id="2147483815" r:id="rId11"/>
    <p:sldLayoutId id="2147483816" r:id="rId12"/>
    <p:sldLayoutId id="214748381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12496801" y="1590548"/>
            <a:ext cx="595070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apgemini Blue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12</a:t>
            </a:r>
          </a:p>
          <a:p>
            <a:pPr marL="171450"/>
            <a:r>
              <a:rPr lang="en-US" sz="60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13091871" y="1590548"/>
            <a:ext cx="595070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</a:p>
          <a:p>
            <a:pPr marL="171450"/>
            <a:r>
              <a:rPr lang="en-US" sz="600" dirty="0"/>
              <a:t>R 18</a:t>
            </a:r>
          </a:p>
          <a:p>
            <a:pPr marL="171450"/>
            <a:r>
              <a:rPr lang="en-US" sz="600" dirty="0"/>
              <a:t>G 171</a:t>
            </a:r>
          </a:p>
          <a:p>
            <a:pPr marL="171450"/>
            <a:r>
              <a:rPr lang="en-US" sz="60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3686941" y="1590548"/>
            <a:ext cx="595070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eep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43</a:t>
            </a:r>
          </a:p>
          <a:p>
            <a:pPr marL="171450"/>
            <a:r>
              <a:rPr lang="en-US" sz="600" dirty="0"/>
              <a:t>G 10</a:t>
            </a:r>
          </a:p>
          <a:p>
            <a:pPr marL="171450"/>
            <a:r>
              <a:rPr lang="en-US" sz="60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4282011" y="1590548"/>
            <a:ext cx="595070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Tech</a:t>
            </a:r>
            <a:br>
              <a:rPr lang="en-US" sz="600" b="1" dirty="0"/>
            </a:br>
            <a:r>
              <a:rPr lang="en-US" sz="600" b="1" dirty="0"/>
              <a:t>Red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48</a:t>
            </a:r>
          </a:p>
          <a:p>
            <a:pPr marL="171450"/>
            <a:r>
              <a:rPr lang="en-US" sz="60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4877081" y="1590548"/>
            <a:ext cx="595070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Zes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149</a:t>
            </a:r>
          </a:p>
          <a:p>
            <a:pPr marL="171450"/>
            <a:r>
              <a:rPr lang="en-US" sz="600" dirty="0"/>
              <a:t>G 230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2496801" y="2468607"/>
            <a:ext cx="595070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Capgemini 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28</a:t>
            </a:r>
          </a:p>
          <a:p>
            <a:pPr marL="171450"/>
            <a:r>
              <a:rPr lang="en-US" sz="600" dirty="0"/>
              <a:t>G 184</a:t>
            </a:r>
          </a:p>
          <a:p>
            <a:pPr marL="171450"/>
            <a:r>
              <a:rPr lang="en-US" sz="60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091871" y="2468607"/>
            <a:ext cx="595070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36</a:t>
            </a:r>
          </a:p>
          <a:p>
            <a:pPr marL="171450"/>
            <a:r>
              <a:rPr lang="en-US" sz="600" dirty="0"/>
              <a:t>G 213</a:t>
            </a:r>
          </a:p>
          <a:p>
            <a:pPr marL="171450"/>
            <a:r>
              <a:rPr lang="en-US" sz="60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686941" y="2468607"/>
            <a:ext cx="595070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09</a:t>
            </a:r>
          </a:p>
          <a:p>
            <a:pPr marL="171450"/>
            <a:r>
              <a:rPr lang="en-US" sz="600" dirty="0"/>
              <a:t>G 100</a:t>
            </a:r>
          </a:p>
          <a:p>
            <a:pPr marL="171450"/>
            <a:r>
              <a:rPr lang="en-US" sz="60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282011" y="2468607"/>
            <a:ext cx="595070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Orange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4877081" y="2468607"/>
            <a:ext cx="595070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00</a:t>
            </a:r>
          </a:p>
          <a:p>
            <a:pPr marL="171450"/>
            <a:r>
              <a:rPr lang="en-US" sz="600" dirty="0"/>
              <a:t>G 255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3686941" y="3089930"/>
            <a:ext cx="595070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26</a:t>
            </a:r>
          </a:p>
          <a:p>
            <a:pPr marL="171450"/>
            <a:r>
              <a:rPr lang="en-US" sz="600" dirty="0"/>
              <a:t>G 57</a:t>
            </a:r>
          </a:p>
          <a:p>
            <a:pPr marL="171450"/>
            <a:r>
              <a:rPr lang="en-US" sz="60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4877081" y="3089930"/>
            <a:ext cx="595070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95</a:t>
            </a:r>
          </a:p>
          <a:p>
            <a:pPr marL="171450"/>
            <a:r>
              <a:rPr lang="en-US" sz="60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4877081" y="4948917"/>
            <a:ext cx="595070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1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4877081" y="4330085"/>
            <a:ext cx="595070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5</a:t>
            </a:r>
          </a:p>
          <a:p>
            <a:pPr marL="171450"/>
            <a:r>
              <a:rPr lang="en-US" sz="600" dirty="0"/>
              <a:t>G 153</a:t>
            </a:r>
          </a:p>
          <a:p>
            <a:pPr marL="171450"/>
            <a:r>
              <a:rPr lang="en-US" sz="60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4877081" y="3711253"/>
            <a:ext cx="595070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</a:t>
            </a:r>
          </a:p>
          <a:p>
            <a:pPr marL="171450"/>
            <a:r>
              <a:rPr lang="en-US" sz="600" dirty="0"/>
              <a:t>G 209</a:t>
            </a:r>
          </a:p>
          <a:p>
            <a:pPr marL="171450"/>
            <a:r>
              <a:rPr lang="en-US" sz="60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4282011" y="3089930"/>
            <a:ext cx="595070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each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126</a:t>
            </a:r>
          </a:p>
          <a:p>
            <a:pPr marL="171450"/>
            <a:r>
              <a:rPr lang="en-US" sz="60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4282011" y="3711253"/>
            <a:ext cx="595070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Light</a:t>
            </a:r>
            <a:br>
              <a:rPr lang="en-US" sz="600" b="1" dirty="0"/>
            </a:b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203</a:t>
            </a:r>
          </a:p>
          <a:p>
            <a:pPr marL="171450"/>
            <a:r>
              <a:rPr lang="en-US" sz="600" dirty="0"/>
              <a:t>G 41</a:t>
            </a:r>
          </a:p>
          <a:p>
            <a:pPr marL="171450"/>
            <a:r>
              <a:rPr lang="en-US" sz="60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4282011" y="4330085"/>
            <a:ext cx="595070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134</a:t>
            </a:r>
          </a:p>
          <a:p>
            <a:pPr marL="171450"/>
            <a:r>
              <a:rPr lang="en-US" sz="600" dirty="0"/>
              <a:t>G 8</a:t>
            </a:r>
          </a:p>
          <a:p>
            <a:pPr marL="171450"/>
            <a:r>
              <a:rPr lang="en-US" sz="60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2496801" y="1405970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2496801" y="2285400"/>
            <a:ext cx="84318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3686941" y="1405970"/>
            <a:ext cx="753411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3686941" y="3711253"/>
            <a:ext cx="595070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71</a:t>
            </a:r>
          </a:p>
          <a:p>
            <a:pPr marL="171450"/>
            <a:r>
              <a:rPr lang="en-US" sz="600" dirty="0"/>
              <a:t>G 1</a:t>
            </a:r>
          </a:p>
          <a:p>
            <a:pPr marL="171450"/>
            <a:r>
              <a:rPr lang="en-US" sz="60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321207809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3550" indent="-231775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9075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11" Type="http://schemas.openxmlformats.org/officeDocument/2006/relationships/image" Target="../media/image57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56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55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microsoft.com/office/2007/relationships/diagramDrawing" Target="../diagrams/drawing3.xml"/><Relationship Id="rId3" Type="http://schemas.openxmlformats.org/officeDocument/2006/relationships/diagramLayout" Target="../diagrams/layout2.xml"/><Relationship Id="rId7" Type="http://schemas.openxmlformats.org/officeDocument/2006/relationships/image" Target="../media/image63.png"/><Relationship Id="rId12" Type="http://schemas.openxmlformats.org/officeDocument/2006/relationships/diagramColors" Target="../diagrams/colors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11" Type="http://schemas.openxmlformats.org/officeDocument/2006/relationships/diagramQuickStyle" Target="../diagrams/quickStyle3.xml"/><Relationship Id="rId5" Type="http://schemas.openxmlformats.org/officeDocument/2006/relationships/diagramColors" Target="../diagrams/colors2.xml"/><Relationship Id="rId10" Type="http://schemas.openxmlformats.org/officeDocument/2006/relationships/diagramLayout" Target="../diagrams/layout3.xml"/><Relationship Id="rId4" Type="http://schemas.openxmlformats.org/officeDocument/2006/relationships/diagramQuickStyle" Target="../diagrams/quickStyle2.xml"/><Relationship Id="rId9" Type="http://schemas.openxmlformats.org/officeDocument/2006/relationships/diagramData" Target="../diagrams/data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3" Type="http://schemas.openxmlformats.org/officeDocument/2006/relationships/image" Target="../media/image65.gif"/><Relationship Id="rId7" Type="http://schemas.openxmlformats.org/officeDocument/2006/relationships/image" Target="../media/image6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png"/><Relationship Id="rId7" Type="http://schemas.openxmlformats.org/officeDocument/2006/relationships/image" Target="../media/image76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5.jpg"/><Relationship Id="rId5" Type="http://schemas.openxmlformats.org/officeDocument/2006/relationships/image" Target="../media/image74.png"/><Relationship Id="rId4" Type="http://schemas.openxmlformats.org/officeDocument/2006/relationships/image" Target="../media/image73.jfi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diagramLayout" Target="../diagrams/layout7.xml"/><Relationship Id="rId18" Type="http://schemas.openxmlformats.org/officeDocument/2006/relationships/diagramLayout" Target="../diagrams/layout8.xml"/><Relationship Id="rId26" Type="http://schemas.microsoft.com/office/2007/relationships/diagramDrawing" Target="../diagrams/drawing9.xml"/><Relationship Id="rId3" Type="http://schemas.openxmlformats.org/officeDocument/2006/relationships/diagramLayout" Target="../diagrams/layout5.xml"/><Relationship Id="rId21" Type="http://schemas.microsoft.com/office/2007/relationships/diagramDrawing" Target="../diagrams/drawing8.xml"/><Relationship Id="rId7" Type="http://schemas.openxmlformats.org/officeDocument/2006/relationships/diagramData" Target="../diagrams/data6.xml"/><Relationship Id="rId12" Type="http://schemas.openxmlformats.org/officeDocument/2006/relationships/diagramData" Target="../diagrams/data7.xml"/><Relationship Id="rId17" Type="http://schemas.openxmlformats.org/officeDocument/2006/relationships/diagramData" Target="../diagrams/data8.xml"/><Relationship Id="rId25" Type="http://schemas.openxmlformats.org/officeDocument/2006/relationships/diagramColors" Target="../diagrams/colors9.xml"/><Relationship Id="rId2" Type="http://schemas.openxmlformats.org/officeDocument/2006/relationships/diagramData" Target="../diagrams/data5.xml"/><Relationship Id="rId16" Type="http://schemas.microsoft.com/office/2007/relationships/diagramDrawing" Target="../diagrams/drawing7.xml"/><Relationship Id="rId20" Type="http://schemas.openxmlformats.org/officeDocument/2006/relationships/diagramColors" Target="../diagrams/colors8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24" Type="http://schemas.openxmlformats.org/officeDocument/2006/relationships/diagramQuickStyle" Target="../diagrams/quickStyle9.xml"/><Relationship Id="rId5" Type="http://schemas.openxmlformats.org/officeDocument/2006/relationships/diagramColors" Target="../diagrams/colors5.xml"/><Relationship Id="rId15" Type="http://schemas.openxmlformats.org/officeDocument/2006/relationships/diagramColors" Target="../diagrams/colors7.xml"/><Relationship Id="rId23" Type="http://schemas.openxmlformats.org/officeDocument/2006/relationships/diagramLayout" Target="../diagrams/layout9.xml"/><Relationship Id="rId10" Type="http://schemas.openxmlformats.org/officeDocument/2006/relationships/diagramColors" Target="../diagrams/colors6.xml"/><Relationship Id="rId19" Type="http://schemas.openxmlformats.org/officeDocument/2006/relationships/diagramQuickStyle" Target="../diagrams/quickStyle8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Relationship Id="rId14" Type="http://schemas.openxmlformats.org/officeDocument/2006/relationships/diagramQuickStyle" Target="../diagrams/quickStyle7.xml"/><Relationship Id="rId22" Type="http://schemas.openxmlformats.org/officeDocument/2006/relationships/diagramData" Target="../diagrams/data9.xml"/></Relationships>
</file>

<file path=ppt/slides/_rels/slide52.xml.rels><?xml version="1.0" encoding="UTF-8" standalone="yes"?>
<Relationships xmlns="http://schemas.openxmlformats.org/package/2006/relationships"><Relationship Id="rId13" Type="http://schemas.openxmlformats.org/officeDocument/2006/relationships/diagramLayout" Target="../diagrams/layout12.xml"/><Relationship Id="rId18" Type="http://schemas.openxmlformats.org/officeDocument/2006/relationships/diagramLayout" Target="../diagrams/layout13.xml"/><Relationship Id="rId26" Type="http://schemas.microsoft.com/office/2007/relationships/diagramDrawing" Target="../diagrams/drawing14.xml"/><Relationship Id="rId39" Type="http://schemas.openxmlformats.org/officeDocument/2006/relationships/diagramQuickStyle" Target="../diagrams/quickStyle17.xml"/><Relationship Id="rId21" Type="http://schemas.microsoft.com/office/2007/relationships/diagramDrawing" Target="../diagrams/drawing13.xml"/><Relationship Id="rId34" Type="http://schemas.openxmlformats.org/officeDocument/2006/relationships/diagramQuickStyle" Target="../diagrams/quickStyle16.xml"/><Relationship Id="rId42" Type="http://schemas.openxmlformats.org/officeDocument/2006/relationships/diagramData" Target="../diagrams/data18.xml"/><Relationship Id="rId47" Type="http://schemas.openxmlformats.org/officeDocument/2006/relationships/diagramData" Target="../diagrams/data19.xml"/><Relationship Id="rId50" Type="http://schemas.openxmlformats.org/officeDocument/2006/relationships/diagramColors" Target="../diagrams/colors19.xml"/><Relationship Id="rId55" Type="http://schemas.openxmlformats.org/officeDocument/2006/relationships/diagramColors" Target="../diagrams/colors20.xml"/><Relationship Id="rId7" Type="http://schemas.openxmlformats.org/officeDocument/2006/relationships/diagramData" Target="../diagrams/data11.xml"/><Relationship Id="rId12" Type="http://schemas.openxmlformats.org/officeDocument/2006/relationships/diagramData" Target="../diagrams/data12.xml"/><Relationship Id="rId17" Type="http://schemas.openxmlformats.org/officeDocument/2006/relationships/diagramData" Target="../diagrams/data13.xml"/><Relationship Id="rId25" Type="http://schemas.openxmlformats.org/officeDocument/2006/relationships/diagramColors" Target="../diagrams/colors14.xml"/><Relationship Id="rId33" Type="http://schemas.openxmlformats.org/officeDocument/2006/relationships/diagramLayout" Target="../diagrams/layout16.xml"/><Relationship Id="rId38" Type="http://schemas.openxmlformats.org/officeDocument/2006/relationships/diagramLayout" Target="../diagrams/layout17.xml"/><Relationship Id="rId46" Type="http://schemas.microsoft.com/office/2007/relationships/diagramDrawing" Target="../diagrams/drawing18.xml"/><Relationship Id="rId2" Type="http://schemas.openxmlformats.org/officeDocument/2006/relationships/diagramData" Target="../diagrams/data10.xml"/><Relationship Id="rId16" Type="http://schemas.microsoft.com/office/2007/relationships/diagramDrawing" Target="../diagrams/drawing12.xml"/><Relationship Id="rId20" Type="http://schemas.openxmlformats.org/officeDocument/2006/relationships/diagramColors" Target="../diagrams/colors13.xml"/><Relationship Id="rId29" Type="http://schemas.openxmlformats.org/officeDocument/2006/relationships/diagramQuickStyle" Target="../diagrams/quickStyle15.xml"/><Relationship Id="rId41" Type="http://schemas.microsoft.com/office/2007/relationships/diagramDrawing" Target="../diagrams/drawing17.xml"/><Relationship Id="rId54" Type="http://schemas.openxmlformats.org/officeDocument/2006/relationships/diagramQuickStyle" Target="../diagrams/quickStyle20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0.xml"/><Relationship Id="rId11" Type="http://schemas.microsoft.com/office/2007/relationships/diagramDrawing" Target="../diagrams/drawing11.xml"/><Relationship Id="rId24" Type="http://schemas.openxmlformats.org/officeDocument/2006/relationships/diagramQuickStyle" Target="../diagrams/quickStyle14.xml"/><Relationship Id="rId32" Type="http://schemas.openxmlformats.org/officeDocument/2006/relationships/diagramData" Target="../diagrams/data16.xml"/><Relationship Id="rId37" Type="http://schemas.openxmlformats.org/officeDocument/2006/relationships/diagramData" Target="../diagrams/data17.xml"/><Relationship Id="rId40" Type="http://schemas.openxmlformats.org/officeDocument/2006/relationships/diagramColors" Target="../diagrams/colors17.xml"/><Relationship Id="rId45" Type="http://schemas.openxmlformats.org/officeDocument/2006/relationships/diagramColors" Target="../diagrams/colors18.xml"/><Relationship Id="rId53" Type="http://schemas.openxmlformats.org/officeDocument/2006/relationships/diagramLayout" Target="../diagrams/layout20.xml"/><Relationship Id="rId5" Type="http://schemas.openxmlformats.org/officeDocument/2006/relationships/diagramColors" Target="../diagrams/colors10.xml"/><Relationship Id="rId15" Type="http://schemas.openxmlformats.org/officeDocument/2006/relationships/diagramColors" Target="../diagrams/colors12.xml"/><Relationship Id="rId23" Type="http://schemas.openxmlformats.org/officeDocument/2006/relationships/diagramLayout" Target="../diagrams/layout14.xml"/><Relationship Id="rId28" Type="http://schemas.openxmlformats.org/officeDocument/2006/relationships/diagramLayout" Target="../diagrams/layout15.xml"/><Relationship Id="rId36" Type="http://schemas.microsoft.com/office/2007/relationships/diagramDrawing" Target="../diagrams/drawing16.xml"/><Relationship Id="rId49" Type="http://schemas.openxmlformats.org/officeDocument/2006/relationships/diagramQuickStyle" Target="../diagrams/quickStyle19.xml"/><Relationship Id="rId57" Type="http://schemas.openxmlformats.org/officeDocument/2006/relationships/image" Target="../media/image95.png"/><Relationship Id="rId10" Type="http://schemas.openxmlformats.org/officeDocument/2006/relationships/diagramColors" Target="../diagrams/colors11.xml"/><Relationship Id="rId19" Type="http://schemas.openxmlformats.org/officeDocument/2006/relationships/diagramQuickStyle" Target="../diagrams/quickStyle13.xml"/><Relationship Id="rId31" Type="http://schemas.microsoft.com/office/2007/relationships/diagramDrawing" Target="../diagrams/drawing15.xml"/><Relationship Id="rId44" Type="http://schemas.openxmlformats.org/officeDocument/2006/relationships/diagramQuickStyle" Target="../diagrams/quickStyle18.xml"/><Relationship Id="rId52" Type="http://schemas.openxmlformats.org/officeDocument/2006/relationships/diagramData" Target="../diagrams/data20.xml"/><Relationship Id="rId4" Type="http://schemas.openxmlformats.org/officeDocument/2006/relationships/diagramQuickStyle" Target="../diagrams/quickStyle10.xml"/><Relationship Id="rId9" Type="http://schemas.openxmlformats.org/officeDocument/2006/relationships/diagramQuickStyle" Target="../diagrams/quickStyle11.xml"/><Relationship Id="rId14" Type="http://schemas.openxmlformats.org/officeDocument/2006/relationships/diagramQuickStyle" Target="../diagrams/quickStyle12.xml"/><Relationship Id="rId22" Type="http://schemas.openxmlformats.org/officeDocument/2006/relationships/diagramData" Target="../diagrams/data14.xml"/><Relationship Id="rId27" Type="http://schemas.openxmlformats.org/officeDocument/2006/relationships/diagramData" Target="../diagrams/data15.xml"/><Relationship Id="rId30" Type="http://schemas.openxmlformats.org/officeDocument/2006/relationships/diagramColors" Target="../diagrams/colors15.xml"/><Relationship Id="rId35" Type="http://schemas.openxmlformats.org/officeDocument/2006/relationships/diagramColors" Target="../diagrams/colors16.xml"/><Relationship Id="rId43" Type="http://schemas.openxmlformats.org/officeDocument/2006/relationships/diagramLayout" Target="../diagrams/layout18.xml"/><Relationship Id="rId48" Type="http://schemas.openxmlformats.org/officeDocument/2006/relationships/diagramLayout" Target="../diagrams/layout19.xml"/><Relationship Id="rId56" Type="http://schemas.microsoft.com/office/2007/relationships/diagramDrawing" Target="../diagrams/drawing20.xml"/><Relationship Id="rId8" Type="http://schemas.openxmlformats.org/officeDocument/2006/relationships/diagramLayout" Target="../diagrams/layout11.xml"/><Relationship Id="rId51" Type="http://schemas.microsoft.com/office/2007/relationships/diagramDrawing" Target="../diagrams/drawing19.xml"/><Relationship Id="rId3" Type="http://schemas.openxmlformats.org/officeDocument/2006/relationships/diagramLayout" Target="../diagrams/layout1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3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3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3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-2616968" y="2996952"/>
            <a:ext cx="5399981" cy="1079500"/>
          </a:xfrm>
        </p:spPr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TEAM 3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15880" y="3068960"/>
            <a:ext cx="50405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 </a:t>
            </a:r>
          </a:p>
          <a:p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L SAIKRISHNA                         94036_IN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NEGA                                     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3959_IN</a:t>
            </a: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RISHIKESH S                            93956_IN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JANA                                        94001_IN</a:t>
            </a: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HAVANA                                    93938_IN</a:t>
            </a:r>
            <a:b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 VINAYKUMAR                        93992_IN</a:t>
            </a:r>
            <a:b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761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MP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1241" y="479247"/>
            <a:ext cx="2811073" cy="2811073"/>
          </a:xfrm>
          <a:prstGeom prst="rect">
            <a:avLst/>
          </a:prstGeom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479376" y="3284984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Connector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2901" y="2420888"/>
            <a:ext cx="4267200" cy="32004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5800" y="3645024"/>
            <a:ext cx="2935213" cy="293521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75" y="3933056"/>
            <a:ext cx="3247102" cy="2521916"/>
          </a:xfrm>
          <a:prstGeom prst="rect">
            <a:avLst/>
          </a:prstGeom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7968828" y="1845319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orts To Be Connected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20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therboard</a:t>
            </a:r>
            <a:endParaRPr lang="en-US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Content Placeholder 1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2878" y="1613123"/>
            <a:ext cx="7000723" cy="4594225"/>
          </a:xfrm>
        </p:spPr>
      </p:pic>
      <p:cxnSp>
        <p:nvCxnSpPr>
          <p:cNvPr id="20" name="Straight Arrow Connector 19"/>
          <p:cNvCxnSpPr/>
          <p:nvPr/>
        </p:nvCxnSpPr>
        <p:spPr>
          <a:xfrm flipV="1">
            <a:off x="3867665" y="2014151"/>
            <a:ext cx="1433384" cy="24714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5301049" y="2014151"/>
            <a:ext cx="308919" cy="1013254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461989" y="1897332"/>
            <a:ext cx="1353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CPU SOCKET</a:t>
            </a:r>
          </a:p>
        </p:txBody>
      </p:sp>
      <p:cxnSp>
        <p:nvCxnSpPr>
          <p:cNvPr id="27" name="Straight Arrow Connector 26"/>
          <p:cNvCxnSpPr>
            <a:stCxn id="28" idx="1"/>
          </p:cNvCxnSpPr>
          <p:nvPr/>
        </p:nvCxnSpPr>
        <p:spPr>
          <a:xfrm flipH="1">
            <a:off x="8933936" y="2683534"/>
            <a:ext cx="691978" cy="442725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9625914" y="2421924"/>
            <a:ext cx="14828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SATA CONNECTORS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H="1" flipV="1">
            <a:off x="6833287" y="3966521"/>
            <a:ext cx="2211859" cy="22242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9045146" y="4077731"/>
            <a:ext cx="15940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CMOS BATTERY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5053914" y="1452488"/>
            <a:ext cx="308919" cy="345989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5053914" y="1452488"/>
            <a:ext cx="1927654" cy="0"/>
          </a:xfrm>
          <a:prstGeom prst="line">
            <a:avLst/>
          </a:pr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6969210" y="1305346"/>
            <a:ext cx="1828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DIMM SLOT</a:t>
            </a:r>
          </a:p>
        </p:txBody>
      </p:sp>
      <p:sp>
        <p:nvSpPr>
          <p:cNvPr id="15" name="Left Brace 14"/>
          <p:cNvSpPr/>
          <p:nvPr/>
        </p:nvSpPr>
        <p:spPr>
          <a:xfrm rot="18741364">
            <a:off x="2815844" y="3503140"/>
            <a:ext cx="645546" cy="1816443"/>
          </a:xfrm>
          <a:prstGeom prst="leftBrace">
            <a:avLst/>
          </a:prstGeom>
          <a:ln w="317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812045" y="4744994"/>
            <a:ext cx="158166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BACK PANEL</a:t>
            </a:r>
          </a:p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(PERIPHERAL CONNECTORS)</a:t>
            </a:r>
          </a:p>
        </p:txBody>
      </p:sp>
      <p:sp>
        <p:nvSpPr>
          <p:cNvPr id="19" name="Right Brace 18"/>
          <p:cNvSpPr/>
          <p:nvPr/>
        </p:nvSpPr>
        <p:spPr>
          <a:xfrm rot="3138051">
            <a:off x="7085269" y="5191652"/>
            <a:ext cx="593125" cy="809939"/>
          </a:xfrm>
          <a:prstGeom prst="rightBrace">
            <a:avLst/>
          </a:pr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7661189" y="5634455"/>
            <a:ext cx="16187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FRONT PANEL CONNECTOR PINS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 flipH="1" flipV="1">
            <a:off x="7381831" y="4385508"/>
            <a:ext cx="1292612" cy="445984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8755072" y="4744994"/>
            <a:ext cx="1303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PCI SLOT</a:t>
            </a:r>
          </a:p>
        </p:txBody>
      </p:sp>
      <p:cxnSp>
        <p:nvCxnSpPr>
          <p:cNvPr id="31" name="Straight Arrow Connector 30"/>
          <p:cNvCxnSpPr/>
          <p:nvPr/>
        </p:nvCxnSpPr>
        <p:spPr>
          <a:xfrm flipV="1">
            <a:off x="4683211" y="4510216"/>
            <a:ext cx="1149178" cy="133453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3138617" y="5844746"/>
            <a:ext cx="19152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PCI XPRESS SLOT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H="1" flipV="1">
            <a:off x="8028137" y="3334271"/>
            <a:ext cx="2211859" cy="22242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0332108" y="3385692"/>
            <a:ext cx="14828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SOUTH BRIDGE</a:t>
            </a:r>
          </a:p>
        </p:txBody>
      </p:sp>
    </p:spTree>
    <p:extLst>
      <p:ext uri="{BB962C8B-B14F-4D97-AF65-F5344CB8AC3E}">
        <p14:creationId xmlns:p14="http://schemas.microsoft.com/office/powerpoint/2010/main" val="3260169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3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8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8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8" grpId="0"/>
      <p:bldP spid="7" grpId="0"/>
      <p:bldP spid="13" grpId="0"/>
      <p:bldP spid="15" grpId="0" animBg="1"/>
      <p:bldP spid="17" grpId="0"/>
      <p:bldP spid="19" grpId="0" animBg="1"/>
      <p:bldP spid="21" grpId="0"/>
      <p:bldP spid="29" grpId="0"/>
      <p:bldP spid="32" grpId="0"/>
      <p:bldP spid="3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HARD DISK</a:t>
            </a:r>
            <a:endParaRPr lang="en-US" b="1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83632" y="1412776"/>
            <a:ext cx="6493933" cy="4870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977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http://www.byte-notes.com/sites/default/files/styles/large/public/field/image/types-of-cache-memory.gif?itok=2GeBSTq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3632" y="548680"/>
            <a:ext cx="7190963" cy="5878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Memory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80338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 txBox="1">
            <a:spLocks/>
          </p:cNvSpPr>
          <p:nvPr/>
        </p:nvSpPr>
        <p:spPr>
          <a:xfrm>
            <a:off x="-24061" y="1196752"/>
            <a:ext cx="5399981" cy="10795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marL="0" indent="0" algn="r" defTabSz="9144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chemeClr val="accent1"/>
                </a:solidFill>
              </a:rPr>
              <a:t>WINDOWS FUNDEMANTALS</a:t>
            </a:r>
            <a:endParaRPr lang="en-US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981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908050"/>
          </a:xfrm>
        </p:spPr>
        <p:txBody>
          <a:bodyPr/>
          <a:lstStyle/>
          <a:p>
            <a:r>
              <a:rPr lang="en-US" sz="3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Operating </a:t>
            </a:r>
            <a:r>
              <a:rPr lang="en-US" sz="3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stem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4294967295"/>
          </p:nvPr>
        </p:nvPicPr>
        <p:blipFill>
          <a:blip r:embed="rId2"/>
          <a:stretch>
            <a:fillRect/>
          </a:stretch>
        </p:blipFill>
        <p:spPr>
          <a:xfrm>
            <a:off x="335360" y="764704"/>
            <a:ext cx="3429000" cy="26003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3501008"/>
            <a:ext cx="458383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mple Batch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ltiprogramming Batch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ltiprocessor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ktop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stributed Operating System</a:t>
            </a:r>
          </a:p>
          <a:p>
            <a:pP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ustered System</a:t>
            </a:r>
          </a:p>
          <a:p>
            <a:pPr>
              <a:buFont typeface="+mj-lt"/>
              <a:buAutoNum type="arabicPeriod"/>
            </a:pPr>
            <a:r>
              <a:rPr lang="en-US" sz="2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al time 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rating </a:t>
            </a:r>
            <a:r>
              <a:rPr lang="en-US" sz="2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stem</a:t>
            </a:r>
            <a:endParaRPr lang="en-US" sz="2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024" y="980868"/>
            <a:ext cx="4536504" cy="3600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007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40704" y="620688"/>
            <a:ext cx="7632848" cy="568863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7872" y="1459582"/>
            <a:ext cx="4876800" cy="405765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824192" y="836712"/>
            <a:ext cx="46085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</a:rPr>
              <a:t>KERNEL ARCHITECTURE</a:t>
            </a:r>
            <a:endParaRPr lang="en-US" sz="2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503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2064" y="1124744"/>
            <a:ext cx="5519936" cy="489654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44" y="1340768"/>
            <a:ext cx="5400600" cy="44958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575720" y="116632"/>
            <a:ext cx="470789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indows Booting Proces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220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58" y="1202432"/>
            <a:ext cx="4502274" cy="237058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4192" y="1052736"/>
            <a:ext cx="3960440" cy="28746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44" y="4104793"/>
            <a:ext cx="5238750" cy="273630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871864" y="188640"/>
            <a:ext cx="34563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e S</a:t>
            </a:r>
            <a:r>
              <a:rPr lang="en-US" sz="3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stem</a:t>
            </a:r>
            <a:endParaRPr lang="en-US" sz="3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473" y="4206697"/>
            <a:ext cx="3528392" cy="2651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718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 flipH="1">
            <a:off x="3647728" y="143157"/>
            <a:ext cx="7476074" cy="476672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nagement Mechanisms</a:t>
            </a:r>
            <a:r>
              <a:rPr lang="en-US" sz="2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Windows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gistry is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collection of databases of configuration settings in Microsoft Windows operating system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Service Control Manager (SCM) is the key component of the operating system responsible for providing a management interface to services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7987" y="1128851"/>
            <a:ext cx="5543551" cy="584278"/>
          </a:xfrm>
        </p:spPr>
        <p:txBody>
          <a:bodyPr/>
          <a:lstStyle/>
          <a:p>
            <a:endParaRPr lang="en-US" sz="28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Registry</a:t>
            </a:r>
            <a:endParaRPr lang="en-US" sz="2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258653" y="1128851"/>
            <a:ext cx="5516444" cy="568018"/>
          </a:xfrm>
        </p:spPr>
        <p:txBody>
          <a:bodyPr/>
          <a:lstStyle/>
          <a:p>
            <a:endParaRPr lang="en-US" sz="28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Services </a:t>
            </a:r>
            <a:endParaRPr lang="en-US" sz="2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69" y="3284984"/>
            <a:ext cx="5972175" cy="346568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7471" y="3519120"/>
            <a:ext cx="5715000" cy="3229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13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GENDA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86862" y="1530615"/>
            <a:ext cx="11805138" cy="3686153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rdw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ows Fundament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nux Fundament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Fundament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Serv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ba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orage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32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device drivers in window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28055"/>
            <a:ext cx="4030755" cy="4629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0829" y="2197764"/>
            <a:ext cx="3338398" cy="475962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434880" y="260648"/>
            <a:ext cx="375295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ice Management</a:t>
            </a:r>
            <a:endParaRPr lang="en-US" sz="3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600382" y="2852936"/>
            <a:ext cx="25202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uspended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sum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creen Of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acklight Of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r Idle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040216" y="1525081"/>
            <a:ext cx="36406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wer Manager States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39616" y="1484784"/>
            <a:ext cx="230383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ice </a:t>
            </a:r>
            <a:r>
              <a:rPr lang="en-US" sz="28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river</a:t>
            </a:r>
            <a:endParaRPr lang="en-US" sz="28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355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6098" y="112754"/>
            <a:ext cx="11016604" cy="863601"/>
          </a:xfrm>
        </p:spPr>
        <p:txBody>
          <a:bodyPr>
            <a:normAutofit fontScale="90000"/>
          </a:bodyPr>
          <a:lstStyle/>
          <a:p>
            <a:r>
              <a:rPr lang="en-US" sz="3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Process </a:t>
            </a:r>
            <a:r>
              <a:rPr lang="en-US" sz="36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nagement</a:t>
            </a:r>
            <a:r>
              <a:rPr lang="en-US" sz="2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8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8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960" y="3791939"/>
            <a:ext cx="5384800" cy="2334225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6223293" y="1700808"/>
            <a:ext cx="5384800" cy="4525963"/>
          </a:xfrm>
        </p:spPr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reads 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mallest sequence of programmed instructions</a:t>
            </a:r>
            <a:r>
              <a:rPr lang="en-US" dirty="0"/>
              <a:t> </a:t>
            </a:r>
          </a:p>
        </p:txBody>
      </p:sp>
      <p:sp>
        <p:nvSpPr>
          <p:cNvPr id="8" name="Rectangle 7"/>
          <p:cNvSpPr/>
          <p:nvPr/>
        </p:nvSpPr>
        <p:spPr>
          <a:xfrm>
            <a:off x="101600" y="1506048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</a:t>
            </a:r>
            <a:endParaRPr lang="en-US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llection of one or more threads and associated system resources such as memory, open files and devices.</a:t>
            </a:r>
          </a:p>
        </p:txBody>
      </p:sp>
      <p:sp>
        <p:nvSpPr>
          <p:cNvPr id="9" name="Rectangle 8"/>
          <p:cNvSpPr/>
          <p:nvPr/>
        </p:nvSpPr>
        <p:spPr>
          <a:xfrm>
            <a:off x="101938" y="3140045"/>
            <a:ext cx="234064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cess States</a:t>
            </a:r>
            <a:endParaRPr lang="en-US" sz="28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9987" y="3356992"/>
            <a:ext cx="5553075" cy="274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93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51784" y="35361"/>
            <a:ext cx="409439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mory Management</a:t>
            </a:r>
            <a:endParaRPr lang="en-US" sz="3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1124744"/>
            <a:ext cx="1219200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rtual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mory   -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rtual memory management systems maps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rtual addresses of the pages with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physical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resses of the pages after the pages of the program has been loaded at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AM.</a:t>
            </a:r>
            <a:endParaRPr lang="en-US" dirty="0" smtClean="0"/>
          </a:p>
          <a:p>
            <a:endPara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irtual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ress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pace -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address space for each process is private and cannot be accessed by other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cesses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less it is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hared. A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rtual address does not represent the actual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hysical location of an object in memory.</a:t>
            </a:r>
          </a:p>
          <a:p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ging</a:t>
            </a:r>
            <a:r>
              <a:rPr lang="en-US" sz="2400" dirty="0"/>
              <a:t> –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is a memory management scheme that eliminates the need for contiguous allocation of physical memory.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  <a:p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mory Pool  -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t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so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lled fixed-size blocks allocation, is the use of pools 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r memory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management that allows dynamic memory 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location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Paged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ol </a:t>
            </a:r>
            <a:endParaRPr lang="en-US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Non paged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ol </a:t>
            </a:r>
          </a:p>
          <a:p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456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426921" y="2515897"/>
            <a:ext cx="6018865" cy="149745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endParaRPr lang="en-US" b="1" dirty="0">
              <a:latin typeface="+mn-l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328" y="2132856"/>
            <a:ext cx="7560840" cy="6262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4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ux Fundamentals</a:t>
            </a:r>
            <a:endParaRPr lang="en-US" sz="4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2475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Baskerville Old Face" panose="02020602080505020303" pitchFamily="18" charset="0"/>
              </a:rPr>
              <a:t>Introduction:</a:t>
            </a:r>
            <a:endParaRPr lang="en-US" b="1" dirty="0">
              <a:latin typeface="Baskerville Old Face" panose="02020602080505020303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 fontAlgn="base"/>
            <a:r>
              <a:rPr lang="en-US" sz="2400" dirty="0" smtClean="0">
                <a:latin typeface="Baskerville Old Face" panose="02020602080505020303" pitchFamily="18" charset="0"/>
              </a:rPr>
              <a:t>Linux was introduces by </a:t>
            </a:r>
            <a:r>
              <a:rPr lang="en-US" sz="2400" dirty="0">
                <a:latin typeface="Baskerville Old Face" panose="02020602080505020303" pitchFamily="18" charset="0"/>
              </a:rPr>
              <a:t>L</a:t>
            </a:r>
            <a:r>
              <a:rPr lang="en-US" sz="2400" dirty="0" smtClean="0">
                <a:latin typeface="Baskerville Old Face" panose="02020602080505020303" pitchFamily="18" charset="0"/>
              </a:rPr>
              <a:t>inus Torvalds</a:t>
            </a:r>
            <a:r>
              <a:rPr lang="en-US" sz="2400" b="1" dirty="0">
                <a:latin typeface="Century Gothic" panose="020B0502020202020204" pitchFamily="34" charset="0"/>
              </a:rPr>
              <a:t> </a:t>
            </a:r>
            <a:r>
              <a:rPr lang="en-US" sz="2400" dirty="0" smtClean="0">
                <a:latin typeface="Baskerville Old Face" panose="02020602080505020303" pitchFamily="18" charset="0"/>
              </a:rPr>
              <a:t>in the year 1991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2705" t="15981"/>
          <a:stretch/>
        </p:blipFill>
        <p:spPr>
          <a:xfrm>
            <a:off x="6672064" y="1702677"/>
            <a:ext cx="4412540" cy="22650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202" y="2132856"/>
            <a:ext cx="3858102" cy="216053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392144" y="4539479"/>
            <a:ext cx="2160240" cy="57606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ftware Version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7782543" y="5115543"/>
            <a:ext cx="689721" cy="6897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9" idx="2"/>
          </p:cNvCxnSpPr>
          <p:nvPr/>
        </p:nvCxnSpPr>
        <p:spPr>
          <a:xfrm>
            <a:off x="8472264" y="5115543"/>
            <a:ext cx="689721" cy="6897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6888088" y="5805264"/>
            <a:ext cx="1440160" cy="6479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lpha </a:t>
            </a:r>
            <a:endParaRPr lang="en-US" dirty="0"/>
          </a:p>
        </p:txBody>
      </p:sp>
      <p:sp>
        <p:nvSpPr>
          <p:cNvPr id="15" name="Rounded Rectangle 14"/>
          <p:cNvSpPr/>
          <p:nvPr/>
        </p:nvSpPr>
        <p:spPr>
          <a:xfrm>
            <a:off x="8817124" y="5805264"/>
            <a:ext cx="1455340" cy="64792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e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535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Baskerville Old Face" panose="02020602080505020303" pitchFamily="18" charset="0"/>
              </a:rPr>
              <a:t>Linux Subsystem:</a:t>
            </a:r>
            <a:endParaRPr lang="en-US" dirty="0">
              <a:latin typeface="Baskerville Old Face" panose="02020602080505020303" pitchFamily="18" charset="0"/>
            </a:endParaRPr>
          </a:p>
        </p:txBody>
      </p:sp>
      <p:graphicFrame>
        <p:nvGraphicFramePr>
          <p:cNvPr id="15" name="Content Placeholder 14"/>
          <p:cNvGraphicFramePr>
            <a:graphicFrameLocks noGrp="1"/>
          </p:cNvGraphicFramePr>
          <p:nvPr>
            <p:ph idx="1"/>
            <p:extLst/>
          </p:nvPr>
        </p:nvGraphicFramePr>
        <p:xfrm>
          <a:off x="695400" y="1124744"/>
          <a:ext cx="5760640" cy="4392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4772" y="1412776"/>
            <a:ext cx="2197882" cy="111543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69010" y="898931"/>
            <a:ext cx="2143125" cy="214312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90222" y="3175659"/>
            <a:ext cx="2444606" cy="136880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38545" y="3140968"/>
            <a:ext cx="1286047" cy="1701539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60096" y="5119862"/>
            <a:ext cx="1582802" cy="158280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2"/>
          <a:srcRect r="943" b="-391"/>
          <a:stretch/>
        </p:blipFill>
        <p:spPr>
          <a:xfrm>
            <a:off x="9601366" y="5395258"/>
            <a:ext cx="1800200" cy="1274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015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79376" y="323945"/>
            <a:ext cx="25442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nux Kernel</a:t>
            </a:r>
            <a:endParaRPr lang="en-US" sz="32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373863" y="1340768"/>
            <a:ext cx="2919046" cy="53926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740815" y="1270429"/>
            <a:ext cx="3012831" cy="679938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Memory Management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13430" y="2583414"/>
            <a:ext cx="2227385" cy="633046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Virtual Files System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601248" y="2595136"/>
            <a:ext cx="2426677" cy="679939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Inter-process Communicatio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3268353" y="2583414"/>
            <a:ext cx="1957753" cy="679939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Process Scheduler</a:t>
            </a: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3033891" y="4265676"/>
            <a:ext cx="2426677" cy="832338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Network Interface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1251986" y="1610399"/>
            <a:ext cx="1477107" cy="973015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>
            <a:off x="1486449" y="1880029"/>
            <a:ext cx="1254366" cy="808892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5847432" y="1774522"/>
            <a:ext cx="762000" cy="808892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10" idx="3"/>
            <a:endCxn id="12" idx="1"/>
          </p:cNvCxnSpPr>
          <p:nvPr/>
        </p:nvCxnSpPr>
        <p:spPr>
          <a:xfrm>
            <a:off x="2740815" y="2899937"/>
            <a:ext cx="527538" cy="23447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11" idx="1"/>
            <a:endCxn id="12" idx="3"/>
          </p:cNvCxnSpPr>
          <p:nvPr/>
        </p:nvCxnSpPr>
        <p:spPr>
          <a:xfrm flipH="1" flipV="1">
            <a:off x="5226106" y="2923384"/>
            <a:ext cx="375142" cy="11722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13" idx="0"/>
          </p:cNvCxnSpPr>
          <p:nvPr/>
        </p:nvCxnSpPr>
        <p:spPr>
          <a:xfrm flipH="1" flipV="1">
            <a:off x="4247229" y="3275075"/>
            <a:ext cx="1" cy="990601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627123" y="3327828"/>
            <a:ext cx="1266094" cy="1465385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9" idx="2"/>
            <a:endCxn id="12" idx="0"/>
          </p:cNvCxnSpPr>
          <p:nvPr/>
        </p:nvCxnSpPr>
        <p:spPr>
          <a:xfrm flipH="1">
            <a:off x="4247230" y="1950367"/>
            <a:ext cx="1" cy="633047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4440663" y="1950367"/>
            <a:ext cx="0" cy="633047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7824192" y="3770375"/>
            <a:ext cx="35283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Baskerville Old Face" panose="02020602080505020303" pitchFamily="18" charset="0"/>
              </a:rPr>
              <a:t>Run Lev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0- Hal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1-Single User M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2-MultiUser mode with Networ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3-Full multiuser M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4-Unuse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5-X1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6-Reboot.</a:t>
            </a:r>
            <a:endParaRPr lang="en-US" dirty="0"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445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404664"/>
            <a:ext cx="36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Baskerville Old Face" panose="02020602080505020303" pitchFamily="18" charset="0"/>
              </a:rPr>
              <a:t>Booting Process </a:t>
            </a:r>
            <a:endParaRPr lang="en-US" sz="2400" dirty="0">
              <a:latin typeface="Baskerville Old Face" panose="02020602080505020303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820" y="980728"/>
            <a:ext cx="4607076" cy="532859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888088" y="404664"/>
            <a:ext cx="38884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Baskerville Old Face" panose="02020602080505020303" pitchFamily="18" charset="0"/>
              </a:rPr>
              <a:t>Shell </a:t>
            </a:r>
            <a:endParaRPr lang="en-US" sz="2000" dirty="0">
              <a:latin typeface="Baskerville Old Face" panose="02020602080505020303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768408" y="3645024"/>
            <a:ext cx="230425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Baskerville Old Face" panose="02020602080505020303" pitchFamily="18" charset="0"/>
              </a:rPr>
              <a:t>Types Of Sh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As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Bour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BAS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Co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T-She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C-She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Z-Shell.</a:t>
            </a:r>
            <a:endParaRPr lang="en-US" dirty="0">
              <a:latin typeface="Baskerville Old Face" panose="02020602080505020303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5920" y="1268760"/>
            <a:ext cx="4511431" cy="345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89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360" y="476672"/>
            <a:ext cx="49685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Baskerville Old Face" panose="02020602080505020303" pitchFamily="18" charset="0"/>
              </a:rPr>
              <a:t>File Management </a:t>
            </a:r>
            <a:endParaRPr lang="en-US" sz="2400" dirty="0">
              <a:latin typeface="Baskerville Old Face" panose="02020602080505020303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662" t="15637"/>
          <a:stretch/>
        </p:blipFill>
        <p:spPr>
          <a:xfrm>
            <a:off x="3143672" y="476672"/>
            <a:ext cx="8022828" cy="378681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35360" y="4941168"/>
            <a:ext cx="46805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ypes of Linux File System.</a:t>
            </a:r>
          </a:p>
          <a:p>
            <a:endParaRPr lang="en-US" dirty="0" smtClean="0"/>
          </a:p>
          <a:p>
            <a:r>
              <a:rPr lang="en-US" dirty="0" smtClean="0"/>
              <a:t>1.Ext 2.		</a:t>
            </a:r>
          </a:p>
          <a:p>
            <a:r>
              <a:rPr lang="en-US" dirty="0" smtClean="0"/>
              <a:t>2.Ext 3.		</a:t>
            </a:r>
          </a:p>
          <a:p>
            <a:r>
              <a:rPr lang="en-US" dirty="0" smtClean="0"/>
              <a:t>3.Ext 4.		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23992" y="4941168"/>
            <a:ext cx="2736304" cy="12241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Journaling.</a:t>
            </a:r>
          </a:p>
          <a:p>
            <a:r>
              <a:rPr lang="en-US" dirty="0" smtClean="0"/>
              <a:t>1.Write back.</a:t>
            </a:r>
          </a:p>
          <a:p>
            <a:r>
              <a:rPr lang="en-US" dirty="0" smtClean="0"/>
              <a:t>2.Ordered.</a:t>
            </a:r>
          </a:p>
          <a:p>
            <a:r>
              <a:rPr lang="en-US" dirty="0" smtClean="0"/>
              <a:t>3.Data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416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51384" y="548680"/>
            <a:ext cx="60960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latin typeface="Baskerville Old Face" panose="02020602080505020303" pitchFamily="18" charset="0"/>
                <a:cs typeface="Times New Roman" pitchFamily="18" charset="0"/>
              </a:rPr>
              <a:t>Types of  </a:t>
            </a:r>
            <a:r>
              <a:rPr lang="en-US" dirty="0" smtClean="0">
                <a:latin typeface="Baskerville Old Face" panose="02020602080505020303" pitchFamily="18" charset="0"/>
                <a:cs typeface="Times New Roman" pitchFamily="18" charset="0"/>
              </a:rPr>
              <a:t>process</a:t>
            </a:r>
          </a:p>
          <a:p>
            <a:r>
              <a:rPr lang="en-US" dirty="0">
                <a:latin typeface="Baskerville Old Face" panose="02020602080505020303" pitchFamily="18" charset="0"/>
                <a:cs typeface="Times New Roman" pitchFamily="18" charset="0"/>
              </a:rPr>
              <a:t>	 </a:t>
            </a:r>
            <a:r>
              <a:rPr lang="en-US" dirty="0" smtClean="0">
                <a:latin typeface="Baskerville Old Face" panose="02020602080505020303" pitchFamily="18" charset="0"/>
                <a:cs typeface="Times New Roman" pitchFamily="18" charset="0"/>
              </a:rPr>
              <a:t> </a:t>
            </a:r>
            <a:r>
              <a:rPr lang="en-US" dirty="0" err="1" smtClean="0">
                <a:latin typeface="Baskerville Old Face" panose="02020602080505020303" pitchFamily="18" charset="0"/>
                <a:cs typeface="Times New Roman" pitchFamily="18" charset="0"/>
              </a:rPr>
              <a:t>Init</a:t>
            </a:r>
            <a:r>
              <a:rPr lang="en-US" dirty="0" smtClean="0">
                <a:latin typeface="Baskerville Old Face" panose="02020602080505020303" pitchFamily="18" charset="0"/>
                <a:cs typeface="Times New Roman" pitchFamily="18" charset="0"/>
              </a:rPr>
              <a:t> process.</a:t>
            </a:r>
          </a:p>
          <a:p>
            <a:r>
              <a:rPr lang="en-US" dirty="0">
                <a:latin typeface="Baskerville Old Face" panose="02020602080505020303" pitchFamily="18" charset="0"/>
                <a:cs typeface="Times New Roman" pitchFamily="18" charset="0"/>
              </a:rPr>
              <a:t>	 </a:t>
            </a:r>
            <a:r>
              <a:rPr lang="en-US" dirty="0" smtClean="0">
                <a:latin typeface="Baskerville Old Face" panose="02020602080505020303" pitchFamily="18" charset="0"/>
                <a:cs typeface="Times New Roman" pitchFamily="18" charset="0"/>
              </a:rPr>
              <a:t> Parent process.</a:t>
            </a:r>
            <a:endParaRPr lang="en-US" dirty="0">
              <a:latin typeface="Baskerville Old Face" panose="02020602080505020303" pitchFamily="18" charset="0"/>
              <a:cs typeface="Times New Roman" pitchFamily="18" charset="0"/>
            </a:endParaRPr>
          </a:p>
          <a:p>
            <a:pPr lvl="2"/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Baskerville Old Face" panose="02020602080505020303" pitchFamily="18" charset="0"/>
              </a:rPr>
              <a:t> Child 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Baskerville Old Face" panose="02020602080505020303" pitchFamily="18" charset="0"/>
              </a:rPr>
              <a:t>process.</a:t>
            </a:r>
            <a:endParaRPr lang="en-US" dirty="0">
              <a:solidFill>
                <a:schemeClr val="tx1">
                  <a:lumMod val="50000"/>
                </a:schemeClr>
              </a:solidFill>
              <a:latin typeface="Baskerville Old Face" panose="02020602080505020303" pitchFamily="18" charset="0"/>
            </a:endParaRPr>
          </a:p>
          <a:p>
            <a:pPr lvl="2"/>
            <a:r>
              <a:rPr lang="en-US" dirty="0">
                <a:latin typeface="Baskerville Old Face" panose="02020602080505020303" pitchFamily="18" charset="0"/>
              </a:rPr>
              <a:t> Daemon </a:t>
            </a:r>
            <a:r>
              <a:rPr lang="en-US" dirty="0" smtClean="0">
                <a:latin typeface="Baskerville Old Face" panose="02020602080505020303" pitchFamily="18" charset="0"/>
              </a:rPr>
              <a:t>process. </a:t>
            </a:r>
            <a:endParaRPr lang="en-US" dirty="0">
              <a:latin typeface="Baskerville Old Face" panose="02020602080505020303" pitchFamily="18" charset="0"/>
            </a:endParaRPr>
          </a:p>
          <a:p>
            <a:pPr lvl="2"/>
            <a:r>
              <a:rPr lang="en-US" dirty="0">
                <a:latin typeface="Baskerville Old Face" panose="02020602080505020303" pitchFamily="18" charset="0"/>
              </a:rPr>
              <a:t> Orphan </a:t>
            </a:r>
            <a:r>
              <a:rPr lang="en-US" dirty="0" smtClean="0">
                <a:latin typeface="Baskerville Old Face" panose="02020602080505020303" pitchFamily="18" charset="0"/>
              </a:rPr>
              <a:t>process.</a:t>
            </a:r>
            <a:endParaRPr lang="en-US" dirty="0">
              <a:latin typeface="Baskerville Old Face" panose="02020602080505020303" pitchFamily="18" charset="0"/>
            </a:endParaRPr>
          </a:p>
          <a:p>
            <a:pPr lvl="2"/>
            <a:r>
              <a:rPr lang="en-US" dirty="0">
                <a:latin typeface="Baskerville Old Face" panose="02020602080505020303" pitchFamily="18" charset="0"/>
              </a:rPr>
              <a:t> Zombie </a:t>
            </a:r>
            <a:r>
              <a:rPr lang="en-US" dirty="0" smtClean="0">
                <a:latin typeface="Baskerville Old Face" panose="02020602080505020303" pitchFamily="18" charset="0"/>
              </a:rPr>
              <a:t>process.</a:t>
            </a:r>
            <a:endParaRPr lang="en-US" dirty="0">
              <a:latin typeface="Baskerville Old Face" panose="02020602080505020303" pitchFamily="18" charset="0"/>
            </a:endParaRPr>
          </a:p>
          <a:p>
            <a:pPr lvl="2"/>
            <a:r>
              <a:rPr lang="en-US" dirty="0">
                <a:latin typeface="Baskerville Old Face" panose="02020602080505020303" pitchFamily="18" charset="0"/>
              </a:rPr>
              <a:t> Interactive </a:t>
            </a:r>
            <a:r>
              <a:rPr lang="en-US" dirty="0" smtClean="0">
                <a:latin typeface="Baskerville Old Face" panose="02020602080505020303" pitchFamily="18" charset="0"/>
              </a:rPr>
              <a:t>process.</a:t>
            </a:r>
            <a:endParaRPr lang="en-US" dirty="0">
              <a:latin typeface="Baskerville Old Face" panose="02020602080505020303" pitchFamily="18" charset="0"/>
            </a:endParaRPr>
          </a:p>
          <a:p>
            <a:pPr lvl="2"/>
            <a:r>
              <a:rPr lang="en-US" dirty="0">
                <a:latin typeface="Baskerville Old Face" panose="02020602080505020303" pitchFamily="18" charset="0"/>
              </a:rPr>
              <a:t> Automatic </a:t>
            </a:r>
            <a:r>
              <a:rPr lang="en-US" dirty="0" smtClean="0">
                <a:latin typeface="Baskerville Old Face" panose="02020602080505020303" pitchFamily="18" charset="0"/>
              </a:rPr>
              <a:t>process.</a:t>
            </a:r>
            <a:endParaRPr lang="en-US" dirty="0">
              <a:latin typeface="Baskerville Old Face" panose="02020602080505020303" pitchFamily="18" charset="0"/>
            </a:endParaRPr>
          </a:p>
          <a:p>
            <a:pPr lvl="2"/>
            <a:r>
              <a:rPr lang="en-US" dirty="0">
                <a:latin typeface="Baskerville Old Face" panose="02020602080505020303" pitchFamily="18" charset="0"/>
              </a:rPr>
              <a:t> Real time </a:t>
            </a:r>
            <a:r>
              <a:rPr lang="en-US" dirty="0" smtClean="0">
                <a:latin typeface="Baskerville Old Face" panose="02020602080505020303" pitchFamily="18" charset="0"/>
              </a:rPr>
              <a:t>process.</a:t>
            </a:r>
            <a:endParaRPr lang="en-US" dirty="0">
              <a:latin typeface="Baskerville Old Face" panose="02020602080505020303" pitchFamily="18" charset="0"/>
              <a:cs typeface="Times New Roman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7968" y="548681"/>
            <a:ext cx="4349105" cy="292223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807968" y="3645024"/>
            <a:ext cx="561662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Baskerville Old Face" panose="02020602080505020303" pitchFamily="18" charset="0"/>
              </a:rPr>
              <a:t>Types of Process Scheduling</a:t>
            </a:r>
          </a:p>
          <a:p>
            <a:endParaRPr lang="en-US" dirty="0" smtClean="0">
              <a:latin typeface="Baskerville Old Face" panose="02020602080505020303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 FCFS (First Come First Serve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SJF      (Shortest Job Firs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Round Rob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Priority Scheduling.</a:t>
            </a:r>
            <a:endParaRPr lang="en-US" dirty="0"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641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98021" y="1994725"/>
            <a:ext cx="11793979" cy="402656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It has-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Input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Output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Storage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Control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ALU</a:t>
            </a:r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98143" y="1401663"/>
            <a:ext cx="11813715" cy="643612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 What is Computer?</a:t>
            </a:r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354" y="1606062"/>
            <a:ext cx="5317515" cy="4399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/>
          <p:cNvSpPr txBox="1">
            <a:spLocks/>
          </p:cNvSpPr>
          <p:nvPr/>
        </p:nvSpPr>
        <p:spPr>
          <a:xfrm>
            <a:off x="191344" y="332656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 smtClean="0"/>
              <a:t>HARDWA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364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9376" y="620688"/>
            <a:ext cx="691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Baskerville Old Face" panose="02020602080505020303" pitchFamily="18" charset="0"/>
              </a:rPr>
              <a:t>Device Management .</a:t>
            </a:r>
          </a:p>
          <a:p>
            <a:endParaRPr lang="en-US" dirty="0">
              <a:latin typeface="Baskerville Old Face" panose="02020602080505020303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9376" y="1267019"/>
            <a:ext cx="58326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Device files (/dev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 Old Face" panose="02020602080505020303" pitchFamily="18" charset="0"/>
              </a:rPr>
              <a:t>IRQ.</a:t>
            </a:r>
            <a:endParaRPr lang="en-US" dirty="0">
              <a:latin typeface="Baskerville Old Face" panose="02020602080505020303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2855640" y="364230"/>
          <a:ext cx="4784080" cy="24673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35360" y="2963553"/>
            <a:ext cx="4176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emory Management 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8714" y="3596915"/>
            <a:ext cx="5040560" cy="262389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07624" y="2963553"/>
            <a:ext cx="3384376" cy="2784413"/>
          </a:xfrm>
          <a:prstGeom prst="rect">
            <a:avLst/>
          </a:prstGeom>
        </p:spPr>
      </p:pic>
      <p:graphicFrame>
        <p:nvGraphicFramePr>
          <p:cNvPr id="8" name="Diagram 7"/>
          <p:cNvGraphicFramePr/>
          <p:nvPr>
            <p:extLst/>
          </p:nvPr>
        </p:nvGraphicFramePr>
        <p:xfrm>
          <a:off x="6312024" y="4005063"/>
          <a:ext cx="2592288" cy="2133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4192164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-1104800" y="1628800"/>
            <a:ext cx="6192688" cy="1008112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NETWORK FUNDEMANTALS</a:t>
            </a:r>
            <a:endParaRPr lang="en-US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2913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893387" y="191869"/>
            <a:ext cx="406393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IN" sz="3600" dirty="0" smtClean="0">
                <a:solidFill>
                  <a:schemeClr val="accent1">
                    <a:lumMod val="75000"/>
                  </a:schemeClr>
                </a:solidFill>
                <a:ea typeface="Verdana"/>
                <a:cs typeface="Verdana"/>
              </a:rPr>
              <a:t>Network Devices</a:t>
            </a:r>
            <a:endParaRPr lang="en-IN" sz="2800" dirty="0">
              <a:solidFill>
                <a:schemeClr val="accent1">
                  <a:lumMod val="75000"/>
                </a:schemeClr>
              </a:solidFill>
              <a:ea typeface="Verdana"/>
              <a:cs typeface="Verdana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148" y="1166319"/>
            <a:ext cx="3450878" cy="256139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916307" y="1288152"/>
            <a:ext cx="14612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Router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050" name="Picture 2" descr="Image result for repeater network device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9699" y="4136863"/>
            <a:ext cx="3106626" cy="255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nic network device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3800" y="4403848"/>
            <a:ext cx="3965575" cy="1996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468555" y="3844476"/>
            <a:ext cx="2356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                </a:t>
            </a:r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NIC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074" name="Picture 2" descr="Image result for switch network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496" y="2396335"/>
            <a:ext cx="3552825" cy="128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4" descr="Image result for hub network"/>
          <p:cNvSpPr>
            <a:spLocks noChangeAspect="1" noChangeArrowheads="1"/>
          </p:cNvSpPr>
          <p:nvPr/>
        </p:nvSpPr>
        <p:spPr bwMode="auto">
          <a:xfrm>
            <a:off x="1288914" y="2621024"/>
            <a:ext cx="1461505" cy="1461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12" descr="Image result for hub networ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86" name="Picture 14" descr="Image result for hub network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314" y="2172451"/>
            <a:ext cx="3064143" cy="1349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Image result for bridge network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696" y="4312280"/>
            <a:ext cx="2753937" cy="2043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085947" y="1288151"/>
            <a:ext cx="18674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    HUB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43151" y="1288151"/>
            <a:ext cx="17644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    Switch</a:t>
            </a: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85947" y="4082534"/>
            <a:ext cx="19663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    Bridge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96216" y="3913232"/>
            <a:ext cx="21121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</a:rPr>
              <a:t>Repeater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06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50762"/>
            <a:ext cx="10515600" cy="965915"/>
          </a:xfrm>
        </p:spPr>
        <p:txBody>
          <a:bodyPr/>
          <a:lstStyle/>
          <a:p>
            <a:r>
              <a:rPr lang="en-US" b="1" dirty="0" smtClean="0"/>
              <a:t>                     TYPES OF NETWORKS</a:t>
            </a:r>
            <a:endParaRPr lang="en-US" b="1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185" y="1859633"/>
            <a:ext cx="3286598" cy="2021524"/>
          </a:xfrm>
          <a:prstGeom prst="rect">
            <a:avLst/>
          </a:prstGeom>
        </p:spPr>
      </p:pic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279" y="1519707"/>
            <a:ext cx="4702839" cy="2361450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0567" y="1519707"/>
            <a:ext cx="2989948" cy="2176531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554" y="4386310"/>
            <a:ext cx="3098483" cy="1693545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236" y="4194882"/>
            <a:ext cx="2695575" cy="2085975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2191" y="4129760"/>
            <a:ext cx="2790124" cy="2206646"/>
          </a:xfrm>
          <a:prstGeom prst="rect">
            <a:avLst/>
          </a:prstGeom>
        </p:spPr>
      </p:pic>
      <p:pic>
        <p:nvPicPr>
          <p:cNvPr id="10" name="Picture 9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0470" y="4353055"/>
            <a:ext cx="2296160" cy="189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951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733800" y="228600"/>
            <a:ext cx="479650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schemeClr val="accent1">
                    <a:lumMod val="75000"/>
                  </a:schemeClr>
                </a:solidFill>
              </a:rPr>
              <a:t>Network Topologies</a:t>
            </a:r>
            <a:endParaRPr lang="en-IN" sz="3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5105" y="1298299"/>
            <a:ext cx="4462677" cy="4767649"/>
          </a:xfrm>
          <a:prstGeom prst="rect">
            <a:avLst/>
          </a:prstGeom>
        </p:spPr>
      </p:pic>
      <p:pic>
        <p:nvPicPr>
          <p:cNvPr id="1026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609" y="1298301"/>
            <a:ext cx="7070501" cy="4935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197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5008" y="1610284"/>
            <a:ext cx="9105363" cy="4945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41703"/>
          </a:xfrm>
        </p:spPr>
        <p:txBody>
          <a:bodyPr/>
          <a:lstStyle/>
          <a:p>
            <a:r>
              <a:rPr lang="en-US" dirty="0" smtClean="0"/>
              <a:t>           </a:t>
            </a:r>
            <a:r>
              <a:rPr lang="en-US" b="1" dirty="0" smtClean="0"/>
              <a:t>TCP/IP LAYERS AND OSI LAYER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871971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197700"/>
            <a:ext cx="10515600" cy="1325563"/>
          </a:xfrm>
        </p:spPr>
        <p:txBody>
          <a:bodyPr/>
          <a:lstStyle/>
          <a:p>
            <a:r>
              <a:rPr lang="en-US" b="1" dirty="0" smtClean="0"/>
              <a:t>                      IP ADDRESS CLASSES</a:t>
            </a:r>
            <a:endParaRPr lang="en-US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876" y="1196752"/>
            <a:ext cx="10447229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97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07368" y="3356992"/>
            <a:ext cx="5040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TWORK SERVICES</a:t>
            </a:r>
            <a:endParaRPr lang="en-US" sz="24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869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3992" y="2852936"/>
            <a:ext cx="5896044" cy="371278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5993" y="116632"/>
            <a:ext cx="860402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u="sng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HCP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9416" y="1264692"/>
            <a:ext cx="986509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d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dynamically assign an IP address to any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d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ADVANTAGE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ECHNOLOGIES PRIOR TO DHCP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TEP BY STEP PROCESS 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0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3832" y="2780928"/>
            <a:ext cx="6072142" cy="338967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503712" y="-11901"/>
            <a:ext cx="59046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NS</a:t>
            </a:r>
            <a:endParaRPr lang="en-US" sz="4400" b="1" u="sng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9336" y="908720"/>
            <a:ext cx="12072664" cy="14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Domain Name System (</a:t>
            </a:r>
            <a:r>
              <a:rPr lang="en-US" sz="24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NS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is a hierarchical decentralized naming system for computers, services, or other resources connected to the Internet or a private network.</a:t>
            </a:r>
            <a:endParaRPr lang="en-US" sz="24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4786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021" y="1645608"/>
            <a:ext cx="11793979" cy="4133869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Types of keyboard</a:t>
            </a:r>
            <a:endParaRPr lang="en-US" sz="2400" dirty="0">
              <a:solidFill>
                <a:srgbClr val="030405"/>
              </a:solidFill>
              <a:latin typeface="Times New Roman" pitchFamily="18" charset="0"/>
              <a:cs typeface="Times New Roman" pitchFamily="18" charset="0"/>
            </a:endParaRPr>
          </a:p>
          <a:p>
            <a:pPr lvl="1"/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Mechanical</a:t>
            </a:r>
          </a:p>
          <a:p>
            <a:pPr lvl="1"/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Membrane</a:t>
            </a:r>
          </a:p>
          <a:p>
            <a:pPr lvl="1"/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multimedi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89299" y="1155478"/>
            <a:ext cx="11813715" cy="47403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30405"/>
                </a:solidFill>
                <a:latin typeface="Times New Roman" pitchFamily="18" charset="0"/>
                <a:cs typeface="Times New Roman" pitchFamily="18" charset="0"/>
              </a:rPr>
              <a:t>Keyboard</a:t>
            </a:r>
            <a:endParaRPr lang="en-US" sz="2400" dirty="0">
              <a:solidFill>
                <a:srgbClr val="03040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0338" y="502764"/>
            <a:ext cx="3153507" cy="271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7865" y="662118"/>
            <a:ext cx="3144135" cy="3008198"/>
          </a:xfrm>
          <a:prstGeom prst="rect">
            <a:avLst/>
          </a:prstGeom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517" y="548681"/>
            <a:ext cx="2539512" cy="302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479376" y="4293096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Mouse</a:t>
            </a:r>
            <a:endParaRPr lang="en-US" b="1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98021" y="5013176"/>
            <a:ext cx="11793979" cy="4026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Types of mouse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Mechanical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Optical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Wireless</a:t>
            </a:r>
            <a:endParaRPr lang="en-US" sz="24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665" y="3819773"/>
            <a:ext cx="3024095" cy="2797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36360" y="3755811"/>
            <a:ext cx="2552331" cy="2932344"/>
          </a:xfrm>
          <a:prstGeom prst="rect">
            <a:avLst/>
          </a:prstGeom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6706" y="3755810"/>
            <a:ext cx="2840204" cy="3013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91344" y="332656"/>
            <a:ext cx="11016604" cy="863601"/>
          </a:xfrm>
        </p:spPr>
        <p:txBody>
          <a:bodyPr/>
          <a:lstStyle/>
          <a:p>
            <a:r>
              <a:rPr lang="en-US" dirty="0" smtClean="0"/>
              <a:t>INPUT DE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992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1784" y="2492896"/>
            <a:ext cx="4371211" cy="410296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27448" y="0"/>
            <a:ext cx="93610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RECTORY SERVICES</a:t>
            </a:r>
            <a:endParaRPr lang="en-US" sz="44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7368" y="1323439"/>
            <a:ext cx="11089232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SzPct val="121000"/>
              <a:buFont typeface="Wingdings" panose="05000000000000000000" pitchFamily="2" charset="2"/>
              <a:buChar char="§"/>
            </a:pPr>
            <a:r>
              <a:rPr lang="en-US" sz="2400" kern="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Directory services contain data and </a:t>
            </a:r>
            <a:r>
              <a:rPr lang="en-US" sz="2400" kern="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etadata</a:t>
            </a:r>
          </a:p>
          <a:p>
            <a:pPr marL="342900" indent="-342900">
              <a:lnSpc>
                <a:spcPct val="150000"/>
              </a:lnSpc>
              <a:buSzPct val="121000"/>
              <a:buFont typeface="Wingdings" panose="05000000000000000000" pitchFamily="2" charset="2"/>
              <a:buChar char="§"/>
            </a:pPr>
            <a:r>
              <a:rPr lang="en-US" sz="2400" kern="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X.500 formed the basis of a standard that is widely deployed </a:t>
            </a:r>
            <a:r>
              <a:rPr lang="en-US" sz="2400" kern="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known as LDAP                       </a:t>
            </a:r>
            <a:endParaRPr lang="en-US" sz="2400" kern="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342900" indent="-342900">
              <a:buSzPct val="121000"/>
              <a:buFont typeface="Wingdings" panose="05000000000000000000" pitchFamily="2" charset="2"/>
              <a:buChar char="§"/>
            </a:pPr>
            <a:endParaRPr lang="en-US" sz="2400" kern="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342900" indent="-342900">
              <a:buSzPct val="121000"/>
              <a:buFont typeface="Wingdings" panose="05000000000000000000" pitchFamily="2" charset="2"/>
              <a:buChar char="§"/>
            </a:pPr>
            <a:endParaRPr lang="en-US" sz="2400" kern="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>
              <a:buSzPct val="121000"/>
            </a:pPr>
            <a:endParaRPr lang="en-US" sz="4400" b="1" kern="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342900" indent="-342900">
              <a:buSzPct val="121000"/>
              <a:buFont typeface="Wingdings" panose="05000000000000000000" pitchFamily="2" charset="2"/>
              <a:buChar char="§"/>
            </a:pPr>
            <a:endParaRPr lang="en-US" sz="2400" kern="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8048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t="13186"/>
          <a:stretch/>
        </p:blipFill>
        <p:spPr>
          <a:xfrm>
            <a:off x="2075352" y="3429000"/>
            <a:ext cx="9997312" cy="265106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919536" y="19366"/>
            <a:ext cx="72903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IL </a:t>
            </a:r>
            <a:r>
              <a:rPr lang="en-US" sz="4400" b="1" u="sng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RVICES</a:t>
            </a:r>
            <a:endParaRPr lang="en-US" sz="4400" b="1" u="sng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9336" y="1342805"/>
            <a:ext cx="119533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 that receives incoming e-mail from local users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mote senders and forwards outgoing e-mail for delivery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9336" y="2531805"/>
            <a:ext cx="424847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TA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A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DP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MTP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P3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AP4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PI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06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75520" y="14604"/>
            <a:ext cx="79208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XY SERVICES</a:t>
            </a:r>
            <a:endParaRPr lang="en-US" sz="44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0423" y="2813040"/>
            <a:ext cx="5054970" cy="308242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1214933"/>
            <a:ext cx="1200065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s as an intermediary between the user's computer and the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ne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xy caching is a feature of proxy servers that stores content on the proxy server itself, allowing web services to share those resources to more users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0948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83632" y="27856"/>
            <a:ext cx="655272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B SERVICES</a:t>
            </a:r>
            <a:endParaRPr lang="en-US" sz="44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3592" y="2924944"/>
            <a:ext cx="6480720" cy="273630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63352" y="797297"/>
            <a:ext cx="120726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’s a service offered by an electronic device to another electronic device, communicating with each other via the World Wide Web.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782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68227" y="3573016"/>
            <a:ext cx="5399981" cy="1079500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latin typeface="+mj-lt"/>
              </a:rPr>
              <a:t>APPLICATIONS</a:t>
            </a:r>
            <a:endParaRPr lang="en-US" sz="2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66193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495600" y="8857"/>
            <a:ext cx="64807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</a:t>
            </a:r>
            <a:endParaRPr lang="en-US" sz="44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63352" y="980728"/>
            <a:ext cx="11521280" cy="1133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 application program is a computer program designed to perform a group of coordinated functions, tasks, or activities for the benefit of the user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graphicFrame>
        <p:nvGraphicFramePr>
          <p:cNvPr id="5" name="Diagram 4"/>
          <p:cNvGraphicFramePr/>
          <p:nvPr>
            <p:extLst/>
          </p:nvPr>
        </p:nvGraphicFramePr>
        <p:xfrm>
          <a:off x="4172852" y="2054751"/>
          <a:ext cx="5292447" cy="2592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84420" y="2996952"/>
            <a:ext cx="38884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NENTS</a:t>
            </a:r>
            <a:endParaRPr lang="en-US" sz="4000" b="1" dirty="0">
              <a:solidFill>
                <a:schemeClr val="accent3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07368" y="5373216"/>
            <a:ext cx="41044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YPES:</a:t>
            </a:r>
            <a:endParaRPr lang="en-US" sz="4000" b="1" dirty="0">
              <a:solidFill>
                <a:schemeClr val="accent3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732692" y="5120897"/>
            <a:ext cx="28803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COMPILER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</a:rPr>
              <a:t>INTERPRETER</a:t>
            </a:r>
            <a:endParaRPr lang="en-US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325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75520" y="152727"/>
            <a:ext cx="8352928" cy="86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558411" y="79913"/>
            <a:ext cx="74168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 - LIFE CYCLE</a:t>
            </a:r>
            <a:endParaRPr lang="en-US" sz="32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9696" y="1016823"/>
            <a:ext cx="5490997" cy="52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557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927648" y="116632"/>
            <a:ext cx="59046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u="sng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endParaRPr lang="en-US" sz="4000" b="1" u="sng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9936" y="2132465"/>
            <a:ext cx="4176464" cy="403497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91344" y="817927"/>
            <a:ext cx="118813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ea typeface="Verdana" pitchFamily="34" charset="0"/>
                <a:cs typeface="Times New Roman" panose="02020603050405020304" pitchFamily="18" charset="0"/>
              </a:rPr>
              <a:t>An application program interface (API) is code that allows two software programs to communicate with each other.</a:t>
            </a:r>
          </a:p>
          <a:p>
            <a:pPr>
              <a:lnSpc>
                <a:spcPct val="100000"/>
              </a:lnSpc>
            </a:pPr>
            <a:endParaRPr lang="en-US" sz="2400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ea typeface="Verdana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1344" y="2564904"/>
            <a:ext cx="5904656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YPES OF ATTACKS: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QL </a:t>
            </a: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jec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oss-site </a:t>
            </a: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ripting </a:t>
            </a:r>
            <a:endParaRPr lang="en-US" sz="2400" dirty="0" smtClean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nial-of-servic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ssion hijacking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102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87488" y="116632"/>
            <a:ext cx="91450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 ARCHITECTURE - TYPES</a:t>
            </a:r>
            <a:endParaRPr lang="en-US" sz="36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8168" y="970007"/>
            <a:ext cx="2664296" cy="26326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6967" b="29824"/>
          <a:stretch/>
        </p:blipFill>
        <p:spPr>
          <a:xfrm>
            <a:off x="767408" y="699195"/>
            <a:ext cx="4703769" cy="30868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9032" y="3786001"/>
            <a:ext cx="4140520" cy="26316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6040" y="3821584"/>
            <a:ext cx="5142194" cy="259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89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608" y="1412776"/>
            <a:ext cx="5956218" cy="482453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991544" y="188640"/>
            <a:ext cx="74168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u="sng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TERPRISE APPLICATIONS</a:t>
            </a:r>
            <a:endParaRPr lang="en-US" sz="40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6829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44" y="-44107"/>
            <a:ext cx="10972800" cy="944562"/>
          </a:xfrm>
        </p:spPr>
        <p:txBody>
          <a:bodyPr>
            <a:normAutofit/>
          </a:bodyPr>
          <a:lstStyle/>
          <a:p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Working</a:t>
            </a:r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principle</a:t>
            </a:r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of</a:t>
            </a:r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scanner</a:t>
            </a:r>
            <a:endParaRPr lang="en-US" sz="36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01" y="1050996"/>
            <a:ext cx="5904656" cy="3529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647728" y="4581128"/>
            <a:ext cx="4248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Analog to Digital converter)</a:t>
            </a:r>
            <a:endParaRPr lang="en-US" dirty="0"/>
          </a:p>
        </p:txBody>
      </p:sp>
      <p:cxnSp>
        <p:nvCxnSpPr>
          <p:cNvPr id="6" name="Straight Arrow Connector 5"/>
          <p:cNvCxnSpPr/>
          <p:nvPr/>
        </p:nvCxnSpPr>
        <p:spPr>
          <a:xfrm flipH="1" flipV="1">
            <a:off x="3863753" y="4409202"/>
            <a:ext cx="344906" cy="1719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3071664" y="2699628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Charge Coupled Device)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 flipH="1">
            <a:off x="3287688" y="3385073"/>
            <a:ext cx="279032" cy="547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4810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807968" y="3861048"/>
            <a:ext cx="5399981" cy="10795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latin typeface="+mj-lt"/>
              </a:rPr>
              <a:t>DATABASE FUNDAMENTAL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26640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3392" y="476672"/>
            <a:ext cx="1065718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DBMS</a:t>
            </a:r>
          </a:p>
          <a:p>
            <a:endParaRPr lang="en-US" dirty="0" smtClean="0"/>
          </a:p>
          <a:p>
            <a:r>
              <a:rPr lang="en-US" dirty="0" smtClean="0"/>
              <a:t>It is responsible for creating,</a:t>
            </a:r>
            <a:r>
              <a:rPr lang="en-US" dirty="0"/>
              <a:t> editing, deleting and generally maintaining a database or collection of data records. </a:t>
            </a:r>
            <a:endParaRPr lang="en-US" dirty="0" smtClean="0"/>
          </a:p>
          <a:p>
            <a:r>
              <a:rPr lang="en-US" dirty="0"/>
              <a:t> A database model is the manner in which the data collection is stored, managed and administered. </a:t>
            </a:r>
            <a:endParaRPr lang="en-US" dirty="0" smtClean="0"/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2700489359"/>
              </p:ext>
            </p:extLst>
          </p:nvPr>
        </p:nvGraphicFramePr>
        <p:xfrm>
          <a:off x="2639616" y="3374752"/>
          <a:ext cx="568863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6136502"/>
              </p:ext>
            </p:extLst>
          </p:nvPr>
        </p:nvGraphicFramePr>
        <p:xfrm>
          <a:off x="2627986" y="3906314"/>
          <a:ext cx="570026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8" name="Diagram 17"/>
          <p:cNvGraphicFramePr/>
          <p:nvPr>
            <p:extLst>
              <p:ext uri="{D42A27DB-BD31-4B8C-83A1-F6EECF244321}">
                <p14:modId xmlns:p14="http://schemas.microsoft.com/office/powerpoint/2010/main" val="2798767257"/>
              </p:ext>
            </p:extLst>
          </p:nvPr>
        </p:nvGraphicFramePr>
        <p:xfrm>
          <a:off x="2649352" y="4418501"/>
          <a:ext cx="5678896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20" name="Diagram 19"/>
          <p:cNvGraphicFramePr/>
          <p:nvPr>
            <p:extLst>
              <p:ext uri="{D42A27DB-BD31-4B8C-83A1-F6EECF244321}">
                <p14:modId xmlns:p14="http://schemas.microsoft.com/office/powerpoint/2010/main" val="3329385335"/>
              </p:ext>
            </p:extLst>
          </p:nvPr>
        </p:nvGraphicFramePr>
        <p:xfrm>
          <a:off x="2649352" y="4940300"/>
          <a:ext cx="570026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4256602138"/>
              </p:ext>
            </p:extLst>
          </p:nvPr>
        </p:nvGraphicFramePr>
        <p:xfrm>
          <a:off x="2649352" y="5473040"/>
          <a:ext cx="568863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54899" y="2517539"/>
            <a:ext cx="532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ifferent data models</a:t>
            </a:r>
            <a:r>
              <a:rPr lang="en-US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: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1559496" y="5657706"/>
            <a:ext cx="108012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endCxn id="20" idx="1"/>
          </p:cNvCxnSpPr>
          <p:nvPr/>
        </p:nvCxnSpPr>
        <p:spPr>
          <a:xfrm>
            <a:off x="1559496" y="5124966"/>
            <a:ext cx="108985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1559496" y="4603167"/>
            <a:ext cx="106849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endCxn id="15" idx="1"/>
          </p:cNvCxnSpPr>
          <p:nvPr/>
        </p:nvCxnSpPr>
        <p:spPr>
          <a:xfrm>
            <a:off x="1559496" y="4090980"/>
            <a:ext cx="106849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endCxn id="13" idx="1"/>
          </p:cNvCxnSpPr>
          <p:nvPr/>
        </p:nvCxnSpPr>
        <p:spPr>
          <a:xfrm>
            <a:off x="1559496" y="3559418"/>
            <a:ext cx="108012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1559496" y="3029726"/>
            <a:ext cx="0" cy="529692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1559496" y="3559418"/>
            <a:ext cx="0" cy="531562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1559496" y="4090980"/>
            <a:ext cx="0" cy="512187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1559496" y="4603167"/>
            <a:ext cx="0" cy="521799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1559496" y="5124966"/>
            <a:ext cx="0" cy="532740"/>
          </a:xfrm>
          <a:prstGeom prst="line">
            <a:avLst/>
          </a:prstGeom>
          <a:ln w="28575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4942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9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5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5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  <p:bldGraphic spid="15" grpId="0">
        <p:bldAsOne/>
      </p:bldGraphic>
      <p:bldGraphic spid="18" grpId="0">
        <p:bldAsOne/>
      </p:bldGraphic>
      <p:bldGraphic spid="20" grpId="0">
        <p:bldAsOne/>
      </p:bldGraphic>
      <p:bldGraphic spid="22" grpId="0">
        <p:bldAsOne/>
      </p:bldGraphic>
      <p:bldP spid="23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07368" y="401645"/>
            <a:ext cx="55446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File based approach Disadvantages</a:t>
            </a:r>
            <a:r>
              <a:rPr lang="en-US" sz="2000" b="1" dirty="0" smtClean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:</a:t>
            </a:r>
            <a:endParaRPr lang="en-US" sz="2000" b="1" dirty="0">
              <a:solidFill>
                <a:schemeClr val="accent2"/>
              </a:solidFill>
              <a:latin typeface="+mj-lt"/>
              <a:cs typeface="Times New Roman" panose="02020603050405020304" pitchFamily="18" charset="0"/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44636103"/>
              </p:ext>
            </p:extLst>
          </p:nvPr>
        </p:nvGraphicFramePr>
        <p:xfrm>
          <a:off x="1487488" y="1005610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1866956997"/>
              </p:ext>
            </p:extLst>
          </p:nvPr>
        </p:nvGraphicFramePr>
        <p:xfrm>
          <a:off x="1487488" y="1516807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4187760423"/>
              </p:ext>
            </p:extLst>
          </p:nvPr>
        </p:nvGraphicFramePr>
        <p:xfrm>
          <a:off x="1487488" y="2028004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716404243"/>
              </p:ext>
            </p:extLst>
          </p:nvPr>
        </p:nvGraphicFramePr>
        <p:xfrm>
          <a:off x="1487488" y="2564587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2035219120"/>
              </p:ext>
            </p:extLst>
          </p:nvPr>
        </p:nvGraphicFramePr>
        <p:xfrm>
          <a:off x="1487488" y="3073111"/>
          <a:ext cx="396044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6672064" y="421371"/>
            <a:ext cx="44644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cs typeface="Times New Roman" panose="02020603050405020304" pitchFamily="18" charset="0"/>
              </a:rPr>
              <a:t>DBMS advantages</a:t>
            </a:r>
            <a:r>
              <a:rPr lang="en-US" sz="2000" b="1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:</a:t>
            </a:r>
            <a:endParaRPr lang="en-US" sz="2000" dirty="0">
              <a:cs typeface="Times New Roman" panose="02020603050405020304" pitchFamily="18" charset="0"/>
            </a:endParaRPr>
          </a:p>
        </p:txBody>
      </p:sp>
      <p:graphicFrame>
        <p:nvGraphicFramePr>
          <p:cNvPr id="20" name="Diagram 19"/>
          <p:cNvGraphicFramePr/>
          <p:nvPr>
            <p:extLst>
              <p:ext uri="{D42A27DB-BD31-4B8C-83A1-F6EECF244321}">
                <p14:modId xmlns:p14="http://schemas.microsoft.com/office/powerpoint/2010/main" val="3042785990"/>
              </p:ext>
            </p:extLst>
          </p:nvPr>
        </p:nvGraphicFramePr>
        <p:xfrm>
          <a:off x="7555768" y="967858"/>
          <a:ext cx="331236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2932159128"/>
              </p:ext>
            </p:extLst>
          </p:nvPr>
        </p:nvGraphicFramePr>
        <p:xfrm>
          <a:off x="7555768" y="1479055"/>
          <a:ext cx="331236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graphicFrame>
        <p:nvGraphicFramePr>
          <p:cNvPr id="24" name="Diagram 23"/>
          <p:cNvGraphicFramePr/>
          <p:nvPr>
            <p:extLst>
              <p:ext uri="{D42A27DB-BD31-4B8C-83A1-F6EECF244321}">
                <p14:modId xmlns:p14="http://schemas.microsoft.com/office/powerpoint/2010/main" val="502624310"/>
              </p:ext>
            </p:extLst>
          </p:nvPr>
        </p:nvGraphicFramePr>
        <p:xfrm>
          <a:off x="7536160" y="2028004"/>
          <a:ext cx="3331976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7" r:lo="rId38" r:qs="rId39" r:cs="rId40"/>
          </a:graphicData>
        </a:graphic>
      </p:graphicFrame>
      <p:graphicFrame>
        <p:nvGraphicFramePr>
          <p:cNvPr id="26" name="Diagram 25"/>
          <p:cNvGraphicFramePr/>
          <p:nvPr>
            <p:extLst>
              <p:ext uri="{D42A27DB-BD31-4B8C-83A1-F6EECF244321}">
                <p14:modId xmlns:p14="http://schemas.microsoft.com/office/powerpoint/2010/main" val="3033202613"/>
              </p:ext>
            </p:extLst>
          </p:nvPr>
        </p:nvGraphicFramePr>
        <p:xfrm>
          <a:off x="7536160" y="2539201"/>
          <a:ext cx="3331976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2" r:lo="rId43" r:qs="rId44" r:cs="rId45"/>
          </a:graphicData>
        </a:graphic>
      </p:graphicFrame>
      <p:graphicFrame>
        <p:nvGraphicFramePr>
          <p:cNvPr id="28" name="Diagram 27"/>
          <p:cNvGraphicFramePr/>
          <p:nvPr>
            <p:extLst>
              <p:ext uri="{D42A27DB-BD31-4B8C-83A1-F6EECF244321}">
                <p14:modId xmlns:p14="http://schemas.microsoft.com/office/powerpoint/2010/main" val="4223841305"/>
              </p:ext>
            </p:extLst>
          </p:nvPr>
        </p:nvGraphicFramePr>
        <p:xfrm>
          <a:off x="7555768" y="3050398"/>
          <a:ext cx="331236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7" r:lo="rId48" r:qs="rId49" r:cs="rId50"/>
          </a:graphicData>
        </a:graphic>
      </p:graphicFrame>
      <p:graphicFrame>
        <p:nvGraphicFramePr>
          <p:cNvPr id="30" name="Diagram 29"/>
          <p:cNvGraphicFramePr/>
          <p:nvPr>
            <p:extLst>
              <p:ext uri="{D42A27DB-BD31-4B8C-83A1-F6EECF244321}">
                <p14:modId xmlns:p14="http://schemas.microsoft.com/office/powerpoint/2010/main" val="1956989594"/>
              </p:ext>
            </p:extLst>
          </p:nvPr>
        </p:nvGraphicFramePr>
        <p:xfrm>
          <a:off x="7555768" y="3599347"/>
          <a:ext cx="331236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2" r:lo="rId53" r:qs="rId54" r:cs="rId55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397158" y="3616186"/>
            <a:ext cx="52565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rPr>
              <a:t>ACID PROPERTIES</a:t>
            </a:r>
            <a:r>
              <a:rPr lang="en-US" sz="20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rPr>
              <a:t>:</a:t>
            </a:r>
            <a:endParaRPr lang="en-US" sz="2000" b="1" dirty="0">
              <a:solidFill>
                <a:schemeClr val="accent2">
                  <a:lumMod val="60000"/>
                  <a:lumOff val="40000"/>
                </a:schemeClr>
              </a:solidFill>
              <a:latin typeface="+mj-lt"/>
            </a:endParaRP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994" y="4189373"/>
            <a:ext cx="4074398" cy="2155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ight Arrow 35"/>
          <p:cNvSpPr/>
          <p:nvPr/>
        </p:nvSpPr>
        <p:spPr>
          <a:xfrm>
            <a:off x="767408" y="3193774"/>
            <a:ext cx="708586" cy="870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ight Arrow 36"/>
          <p:cNvSpPr/>
          <p:nvPr/>
        </p:nvSpPr>
        <p:spPr>
          <a:xfrm>
            <a:off x="767408" y="2703443"/>
            <a:ext cx="708586" cy="9152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ight Arrow 37"/>
          <p:cNvSpPr/>
          <p:nvPr/>
        </p:nvSpPr>
        <p:spPr>
          <a:xfrm>
            <a:off x="767408" y="2173357"/>
            <a:ext cx="708586" cy="8503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Arrow 38"/>
          <p:cNvSpPr/>
          <p:nvPr/>
        </p:nvSpPr>
        <p:spPr>
          <a:xfrm>
            <a:off x="767408" y="1616765"/>
            <a:ext cx="708586" cy="926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Arrow 39"/>
          <p:cNvSpPr/>
          <p:nvPr/>
        </p:nvSpPr>
        <p:spPr>
          <a:xfrm>
            <a:off x="767408" y="1113184"/>
            <a:ext cx="708586" cy="850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2" name="Straight Connector 41"/>
          <p:cNvCxnSpPr>
            <a:endCxn id="40" idx="1"/>
          </p:cNvCxnSpPr>
          <p:nvPr/>
        </p:nvCxnSpPr>
        <p:spPr>
          <a:xfrm>
            <a:off x="767408" y="801755"/>
            <a:ext cx="0" cy="353959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40" idx="1"/>
            <a:endCxn id="39" idx="1"/>
          </p:cNvCxnSpPr>
          <p:nvPr/>
        </p:nvCxnSpPr>
        <p:spPr>
          <a:xfrm>
            <a:off x="767408" y="1155714"/>
            <a:ext cx="0" cy="507389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39" idx="1"/>
            <a:endCxn id="38" idx="1"/>
          </p:cNvCxnSpPr>
          <p:nvPr/>
        </p:nvCxnSpPr>
        <p:spPr>
          <a:xfrm>
            <a:off x="767408" y="1663103"/>
            <a:ext cx="0" cy="552771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38" idx="1"/>
            <a:endCxn id="37" idx="1"/>
          </p:cNvCxnSpPr>
          <p:nvPr/>
        </p:nvCxnSpPr>
        <p:spPr>
          <a:xfrm>
            <a:off x="767408" y="2215874"/>
            <a:ext cx="0" cy="533334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37" idx="1"/>
            <a:endCxn id="36" idx="1"/>
          </p:cNvCxnSpPr>
          <p:nvPr/>
        </p:nvCxnSpPr>
        <p:spPr>
          <a:xfrm>
            <a:off x="767408" y="2749208"/>
            <a:ext cx="0" cy="488071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4" name="Right Arrow 53"/>
          <p:cNvSpPr/>
          <p:nvPr/>
        </p:nvSpPr>
        <p:spPr>
          <a:xfrm>
            <a:off x="6960096" y="3737113"/>
            <a:ext cx="576064" cy="12393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ight Arrow 74"/>
          <p:cNvSpPr/>
          <p:nvPr/>
        </p:nvSpPr>
        <p:spPr>
          <a:xfrm>
            <a:off x="6960096" y="3193774"/>
            <a:ext cx="576064" cy="870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ight Arrow 75"/>
          <p:cNvSpPr/>
          <p:nvPr/>
        </p:nvSpPr>
        <p:spPr>
          <a:xfrm>
            <a:off x="6960096" y="2703444"/>
            <a:ext cx="576064" cy="9148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ight Arrow 76"/>
          <p:cNvSpPr/>
          <p:nvPr/>
        </p:nvSpPr>
        <p:spPr>
          <a:xfrm>
            <a:off x="6960096" y="2186609"/>
            <a:ext cx="576064" cy="717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ight Arrow 77"/>
          <p:cNvSpPr/>
          <p:nvPr/>
        </p:nvSpPr>
        <p:spPr>
          <a:xfrm>
            <a:off x="6960096" y="1616765"/>
            <a:ext cx="576064" cy="920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ight Arrow 78"/>
          <p:cNvSpPr/>
          <p:nvPr/>
        </p:nvSpPr>
        <p:spPr>
          <a:xfrm>
            <a:off x="6960096" y="1113184"/>
            <a:ext cx="576064" cy="8824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1" name="Straight Connector 80"/>
          <p:cNvCxnSpPr>
            <a:endCxn id="79" idx="1"/>
          </p:cNvCxnSpPr>
          <p:nvPr/>
        </p:nvCxnSpPr>
        <p:spPr>
          <a:xfrm>
            <a:off x="6960096" y="801755"/>
            <a:ext cx="0" cy="355554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79" idx="1"/>
            <a:endCxn id="78" idx="1"/>
          </p:cNvCxnSpPr>
          <p:nvPr/>
        </p:nvCxnSpPr>
        <p:spPr>
          <a:xfrm>
            <a:off x="6960096" y="1157309"/>
            <a:ext cx="0" cy="505485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78" idx="1"/>
            <a:endCxn id="77" idx="1"/>
          </p:cNvCxnSpPr>
          <p:nvPr/>
        </p:nvCxnSpPr>
        <p:spPr>
          <a:xfrm>
            <a:off x="6960096" y="1662794"/>
            <a:ext cx="0" cy="559706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77" idx="1"/>
            <a:endCxn id="76" idx="1"/>
          </p:cNvCxnSpPr>
          <p:nvPr/>
        </p:nvCxnSpPr>
        <p:spPr>
          <a:xfrm>
            <a:off x="6960096" y="2222500"/>
            <a:ext cx="0" cy="526686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76" idx="1"/>
            <a:endCxn id="75" idx="1"/>
          </p:cNvCxnSpPr>
          <p:nvPr/>
        </p:nvCxnSpPr>
        <p:spPr>
          <a:xfrm>
            <a:off x="6960096" y="2749186"/>
            <a:ext cx="0" cy="488093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stCxn id="75" idx="1"/>
          </p:cNvCxnSpPr>
          <p:nvPr/>
        </p:nvCxnSpPr>
        <p:spPr>
          <a:xfrm>
            <a:off x="6960096" y="3237279"/>
            <a:ext cx="0" cy="623769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5264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5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50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500"/>
                            </p:stCondLst>
                            <p:childTnLst>
                              <p:par>
                                <p:cTn id="84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6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500"/>
                            </p:stCondLst>
                            <p:childTnLst>
                              <p:par>
                                <p:cTn id="8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500"/>
                            </p:stCondLst>
                            <p:childTnLst>
                              <p:par>
                                <p:cTn id="9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9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500"/>
                            </p:stCondLst>
                            <p:childTnLst>
                              <p:par>
                                <p:cTn id="1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500"/>
                            </p:stCondLst>
                            <p:childTnLst>
                              <p:par>
                                <p:cTn id="110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2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1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500"/>
                            </p:stCondLst>
                            <p:childTnLst>
                              <p:par>
                                <p:cTn id="12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500"/>
                            </p:stCondLst>
                            <p:childTnLst>
                              <p:par>
                                <p:cTn id="1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500"/>
                            </p:stCondLst>
                            <p:childTnLst>
                              <p:par>
                                <p:cTn id="136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8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1500"/>
                            </p:stCondLst>
                            <p:childTnLst>
                              <p:par>
                                <p:cTn id="1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500"/>
                            </p:stCondLst>
                            <p:childTnLst>
                              <p:par>
                                <p:cTn id="14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1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2500"/>
                            </p:stCondLst>
                            <p:childTnLst>
                              <p:par>
                                <p:cTn id="1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6" fill="hold">
                      <p:stCondLst>
                        <p:cond delay="indefinite"/>
                      </p:stCondLst>
                      <p:childTnLst>
                        <p:par>
                          <p:cTn id="157" fill="hold">
                            <p:stCondLst>
                              <p:cond delay="0"/>
                            </p:stCondLst>
                            <p:childTnLst>
                              <p:par>
                                <p:cTn id="1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1" fill="hold">
                            <p:stCondLst>
                              <p:cond delay="500"/>
                            </p:stCondLst>
                            <p:childTnLst>
                              <p:par>
                                <p:cTn id="16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Graphic spid="7" grpId="0">
        <p:bldAsOne/>
      </p:bldGraphic>
      <p:bldGraphic spid="11" grpId="0">
        <p:bldAsOne/>
      </p:bldGraphic>
      <p:bldGraphic spid="13" grpId="0">
        <p:bldAsOne/>
      </p:bldGraphic>
      <p:bldGraphic spid="15" grpId="0">
        <p:bldAsOne/>
      </p:bldGraphic>
      <p:bldGraphic spid="17" grpId="0">
        <p:bldAsOne/>
      </p:bldGraphic>
      <p:bldP spid="18" grpId="0"/>
      <p:bldGraphic spid="20" grpId="0">
        <p:bldAsOne/>
      </p:bldGraphic>
      <p:bldGraphic spid="22" grpId="0">
        <p:bldAsOne/>
      </p:bldGraphic>
      <p:bldGraphic spid="24" grpId="0">
        <p:bldAsOne/>
      </p:bldGraphic>
      <p:bldGraphic spid="26" grpId="0">
        <p:bldAsOne/>
      </p:bldGraphic>
      <p:bldGraphic spid="28" grpId="0">
        <p:bldAsOne/>
      </p:bldGraphic>
      <p:bldGraphic spid="30" grpId="0">
        <p:bldAsOne/>
      </p:bldGraphic>
      <p:bldP spid="31" grpId="0"/>
      <p:bldP spid="36" grpId="0" animBg="1"/>
      <p:bldP spid="37" grpId="0" animBg="1"/>
      <p:bldP spid="38" grpId="0" animBg="1"/>
      <p:bldP spid="39" grpId="0" animBg="1"/>
      <p:bldP spid="40" grpId="0" animBg="1"/>
      <p:bldP spid="54" grpId="0" animBg="1"/>
      <p:bldP spid="75" grpId="0" animBg="1"/>
      <p:bldP spid="76" grpId="0" animBg="1"/>
      <p:bldP spid="77" grpId="0" animBg="1"/>
      <p:bldP spid="78" grpId="0" animBg="1"/>
      <p:bldP spid="79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95010" y="1794994"/>
            <a:ext cx="11793979" cy="4026560"/>
          </a:xfrm>
        </p:spPr>
        <p:txBody>
          <a:bodyPr/>
          <a:lstStyle/>
          <a:p>
            <a:r>
              <a:rPr lang="en-US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RD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ull 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 null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ique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fault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mary key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eign key constraint</a:t>
            </a:r>
            <a:endParaRPr lang="en-US" b="1" dirty="0">
              <a:solidFill>
                <a:schemeClr val="accent2"/>
              </a:solidFill>
            </a:endParaRP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794994"/>
            <a:ext cx="4536504" cy="283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97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8068" y="222535"/>
            <a:ext cx="457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rmalization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08547" y="1556792"/>
          <a:ext cx="4136980" cy="1920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38990"/>
                <a:gridCol w="1310858"/>
                <a:gridCol w="790658"/>
                <a:gridCol w="89647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, 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, whi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089899" y="1556792"/>
          <a:ext cx="503564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910"/>
                <a:gridCol w="1258910"/>
                <a:gridCol w="1258910"/>
                <a:gridCol w="1258910"/>
              </a:tblGrid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hi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008074" y="821776"/>
            <a:ext cx="1081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1 NF</a:t>
            </a:r>
            <a:endParaRPr lang="en-US" sz="2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008074" y="3728453"/>
            <a:ext cx="12352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/>
              <a:t> 2 NF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7528" y="4391222"/>
            <a:ext cx="2615411" cy="198137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9899" y="4391222"/>
            <a:ext cx="4267570" cy="1237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458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  <p:bldP spid="8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60202" y="1352361"/>
            <a:ext cx="12031797" cy="4952185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407368" y="948276"/>
          <a:ext cx="4143080" cy="275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0101"/>
                <a:gridCol w="2042979"/>
              </a:tblGrid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ue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hite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407368" y="3893511"/>
          <a:ext cx="288677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160"/>
                <a:gridCol w="144661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07368" y="5348339"/>
          <a:ext cx="288677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3388"/>
                <a:gridCol w="144338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08653" y="470667"/>
            <a:ext cx="1162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3 NF</a:t>
            </a:r>
            <a:endParaRPr lang="en-US" sz="2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7104112" y="486611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+mj-lt"/>
              </a:rPr>
              <a:t>BCNF</a:t>
            </a:r>
            <a:endParaRPr lang="en-US" sz="2400" b="1" dirty="0">
              <a:latin typeface="+mj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524" y="1495333"/>
            <a:ext cx="5255207" cy="3853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132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562" y="514661"/>
            <a:ext cx="11016604" cy="86360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Structured query language</a:t>
            </a:r>
            <a:b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</a:br>
            <a:r>
              <a:rPr lang="en-US" b="1" dirty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	</a:t>
            </a:r>
            <a:r>
              <a:rPr lang="en-US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SQL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is a standard computer language for relational database management and data manipulation.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tx2">
                    <a:lumMod val="50000"/>
                  </a:schemeClr>
                </a:solidFill>
              </a:rPr>
            </a:br>
            <a:endParaRPr lang="en-US" b="1" dirty="0">
              <a:solidFill>
                <a:srgbClr val="0070C0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3071664" y="1844688"/>
            <a:ext cx="4775200" cy="838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SQL language statement</a:t>
            </a:r>
          </a:p>
        </p:txBody>
      </p:sp>
      <p:cxnSp>
        <p:nvCxnSpPr>
          <p:cNvPr id="6" name="Straight Arrow Connector 5"/>
          <p:cNvCxnSpPr>
            <a:stCxn id="5" idx="2"/>
          </p:cNvCxnSpPr>
          <p:nvPr/>
        </p:nvCxnSpPr>
        <p:spPr>
          <a:xfrm>
            <a:off x="5459264" y="2682888"/>
            <a:ext cx="0" cy="381000"/>
          </a:xfrm>
          <a:prstGeom prst="straightConnector1">
            <a:avLst/>
          </a:prstGeom>
          <a:ln>
            <a:solidFill>
              <a:srgbClr val="0E0D0C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055664" y="3063888"/>
            <a:ext cx="6705600" cy="0"/>
          </a:xfrm>
          <a:prstGeom prst="line">
            <a:avLst/>
          </a:prstGeom>
          <a:ln w="12700"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/>
          <p:cNvSpPr/>
          <p:nvPr/>
        </p:nvSpPr>
        <p:spPr>
          <a:xfrm>
            <a:off x="12936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DL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5669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ML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8148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CL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7999264" y="3625862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TCL</a:t>
            </a:r>
          </a:p>
        </p:txBody>
      </p:sp>
      <p:cxnSp>
        <p:nvCxnSpPr>
          <p:cNvPr id="13" name="Straight Connector 12"/>
          <p:cNvCxnSpPr>
            <a:endCxn id="9" idx="0"/>
          </p:cNvCxnSpPr>
          <p:nvPr/>
        </p:nvCxnSpPr>
        <p:spPr>
          <a:xfrm>
            <a:off x="20556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3162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65768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8773964" y="3063887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1249214" y="4492638"/>
            <a:ext cx="1612900" cy="16192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Crea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Alter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Truncate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Drop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566965" y="4502164"/>
            <a:ext cx="1612900" cy="16097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6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Insert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Upda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Dele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Select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7999265" y="4511688"/>
            <a:ext cx="1612900" cy="1600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Commit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Rollback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5814865" y="4511688"/>
            <a:ext cx="1612900" cy="1600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Grant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Revoke </a:t>
            </a:r>
          </a:p>
        </p:txBody>
      </p:sp>
      <p:cxnSp>
        <p:nvCxnSpPr>
          <p:cNvPr id="21" name="Straight Connector 20"/>
          <p:cNvCxnSpPr>
            <a:stCxn id="9" idx="2"/>
            <a:endCxn id="17" idx="0"/>
          </p:cNvCxnSpPr>
          <p:nvPr/>
        </p:nvCxnSpPr>
        <p:spPr>
          <a:xfrm>
            <a:off x="2055664" y="4159264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316264" y="4168789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576864" y="4178314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8761264" y="4168789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5251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000"/>
                            </p:stCondLst>
                            <p:childTnLst>
                              <p:par>
                                <p:cTn id="6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500"/>
                            </p:stCondLst>
                            <p:childTnLst>
                              <p:par>
                                <p:cTn id="7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0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500"/>
                            </p:stCondLst>
                            <p:childTnLst>
                              <p:par>
                                <p:cTn id="8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animBg="1"/>
      <p:bldP spid="9" grpId="0" animBg="1"/>
      <p:bldP spid="10" grpId="0" animBg="1"/>
      <p:bldP spid="11" grpId="0" animBg="1"/>
      <p:bldP spid="12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General RDBMS architecture</a:t>
            </a:r>
            <a:endParaRPr lang="en-US" b="1" dirty="0">
              <a:solidFill>
                <a:srgbClr val="0070C0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07988" y="1268414"/>
            <a:ext cx="11793979" cy="4026560"/>
          </a:xfrm>
        </p:spPr>
        <p:txBody>
          <a:bodyPr/>
          <a:lstStyle/>
          <a:p>
            <a:r>
              <a:rPr lang="en-US" dirty="0" smtClean="0"/>
              <a:t>Application layer</a:t>
            </a:r>
          </a:p>
          <a:p>
            <a:r>
              <a:rPr lang="en-US" dirty="0" smtClean="0"/>
              <a:t>Logical layer</a:t>
            </a:r>
          </a:p>
          <a:p>
            <a:r>
              <a:rPr lang="en-US" dirty="0" smtClean="0"/>
              <a:t>Physical layer</a:t>
            </a:r>
            <a:endParaRPr lang="en-US" dirty="0"/>
          </a:p>
        </p:txBody>
      </p:sp>
      <p:pic>
        <p:nvPicPr>
          <p:cNvPr id="15366" name="Picture 6" descr="Image result for architecture of rdms application layer,logical layer,physical lay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5960" y="1268414"/>
            <a:ext cx="5467350" cy="422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3648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775520" y="3501008"/>
            <a:ext cx="5399981" cy="10795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latin typeface="+mj-lt"/>
              </a:rPr>
              <a:t>STORAGE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30151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176" y="1442254"/>
            <a:ext cx="10399257" cy="4198691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	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 means the devices and data connected to the computer through I/O operations.</a:t>
            </a:r>
          </a:p>
          <a:p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mponents of Storage System Environment</a:t>
            </a:r>
          </a:p>
          <a:p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osts</a:t>
            </a:r>
          </a:p>
          <a:p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nectivity</a:t>
            </a:r>
          </a:p>
          <a:p>
            <a:pPr marL="0" indent="0">
              <a:buNone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Bus, Port, Cable</a:t>
            </a:r>
          </a:p>
          <a:p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 arrays</a:t>
            </a:r>
          </a:p>
          <a:p>
            <a:pPr marL="0" indent="0">
              <a:buNone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Magnetic media, Optical media, Solid State media</a:t>
            </a: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3487" y="2817853"/>
            <a:ext cx="5278232" cy="169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63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SCANNER</a:t>
            </a:r>
            <a:endParaRPr lang="en-US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021" y="1830602"/>
            <a:ext cx="11793979" cy="402656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Types of scanner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Flatbed scanner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Drum scanner</a:t>
            </a:r>
          </a:p>
          <a:p>
            <a:pPr lvl="1"/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Handheld scanner</a:t>
            </a:r>
            <a:endParaRPr lang="en-US" sz="24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78285" y="1296154"/>
            <a:ext cx="11813715" cy="643612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Scanner</a:t>
            </a:r>
            <a:endParaRPr lang="en-US" sz="2400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1437" y="3212976"/>
            <a:ext cx="3204015" cy="3447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390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0911" y="2852936"/>
            <a:ext cx="2574680" cy="3219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290" y="595490"/>
            <a:ext cx="2948151" cy="3049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6397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</a:t>
            </a:r>
            <a:r>
              <a:rPr lang="en-US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orage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588" y="1929075"/>
            <a:ext cx="7518070" cy="4026560"/>
          </a:xfrm>
        </p:spPr>
        <p:txBody>
          <a:bodyPr/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rect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tached Storage (DAS)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twork Attached Storage (NAS)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orage Area Networks (SAN)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dundant Array of Independent Disk (RAID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00764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489397" y="618186"/>
            <a:ext cx="10444766" cy="19060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S :-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rect-attached storage (DAS) is digital storage directly attached to the computer accessing it, as opposed to storage accessed over a computer network.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en-US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AS:- 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Network Attached Storage (NAS) device is a storage device connected to a network that allows storage and retrieval of data from a centralized location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320" y="2763256"/>
            <a:ext cx="4698841" cy="33799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4899" y="2763256"/>
            <a:ext cx="4709264" cy="312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5667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92428" y="777958"/>
            <a:ext cx="11062952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SAN serves to interconnect storage related resources that are connected to multiple servers.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It uses Fiber Channel Technology.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It also uses iSCSI.</a:t>
            </a:r>
          </a:p>
          <a:p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2400" dirty="0" smtClean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nectivity Methods:</a:t>
            </a:r>
          </a:p>
          <a:p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int to point (FC-P2P)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A direct connection between the node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ber Channel- Arbitrated Loop (FC-AL)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Devices are attached to a Shared loop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ber Channel- Switched Fabric (FC-SW)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Multiple devices are connected via switching 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chnologies.</a:t>
            </a:r>
          </a:p>
          <a:p>
            <a:endParaRPr lang="en-US" sz="1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0529" y="1733254"/>
            <a:ext cx="5573706" cy="378115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35475" y="193183"/>
            <a:ext cx="52159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N</a:t>
            </a:r>
            <a:endParaRPr lang="en-US" sz="3200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335022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ID 0 and RAID 1</a:t>
            </a:r>
            <a:endParaRPr lang="en-US" dirty="0"/>
          </a:p>
        </p:txBody>
      </p:sp>
      <p:pic>
        <p:nvPicPr>
          <p:cNvPr id="16386" name="Picture 2" descr="Image result for raid 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038" y="1632856"/>
            <a:ext cx="3095625" cy="4075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706" y="1489165"/>
            <a:ext cx="6477000" cy="4624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853530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ID 5 and RAID 6</a:t>
            </a:r>
            <a:endParaRPr lang="en-US" dirty="0"/>
          </a:p>
        </p:txBody>
      </p:sp>
      <p:sp>
        <p:nvSpPr>
          <p:cNvPr id="5" name="AutoShape 2" descr="Image result for raid 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4" descr="Image result for raid 5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843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29" y="1819273"/>
            <a:ext cx="4490357" cy="3640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9" name="Picture 7" descr="Image result for raid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726" y="1819272"/>
            <a:ext cx="5454740" cy="3640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622944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ID 01 and RAID 10</a:t>
            </a:r>
            <a:endParaRPr lang="en-US" dirty="0"/>
          </a:p>
        </p:txBody>
      </p:sp>
      <p:sp>
        <p:nvSpPr>
          <p:cNvPr id="5" name="AutoShape 2" descr="Image result for raid 0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94" y="2016443"/>
            <a:ext cx="4624251" cy="319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61" name="Picture 5" descr="Image result for raid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2970" y="2016442"/>
            <a:ext cx="5938067" cy="3190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04135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3215680" y="2731567"/>
            <a:ext cx="43924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schemeClr val="accent1">
                    <a:lumMod val="75000"/>
                  </a:schemeClr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Thank You</a:t>
            </a:r>
            <a:endParaRPr lang="en-US" sz="4400" b="1" dirty="0">
              <a:solidFill>
                <a:schemeClr val="accent1">
                  <a:lumMod val="75000"/>
                </a:schemeClr>
              </a:solidFill>
              <a:latin typeface="Arial Rounded MT Bold" panose="020F07040305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8088" y="2701412"/>
            <a:ext cx="4631499" cy="3473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741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021" y="1875692"/>
            <a:ext cx="11793979" cy="4262824"/>
          </a:xfrm>
        </p:spPr>
        <p:txBody>
          <a:bodyPr/>
          <a:lstStyle/>
          <a:p>
            <a:r>
              <a:rPr lang="en-US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CRT Monitor</a:t>
            </a:r>
          </a:p>
          <a:p>
            <a:r>
              <a:rPr lang="en-US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LED</a:t>
            </a:r>
          </a:p>
          <a:p>
            <a:r>
              <a:rPr lang="en-US" b="1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LCD</a:t>
            </a:r>
          </a:p>
          <a:p>
            <a:pPr marL="0" indent="0">
              <a:buNone/>
            </a:pPr>
            <a:endParaRPr lang="en-US" b="1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54840" y="1366492"/>
            <a:ext cx="11813715" cy="509200"/>
          </a:xfrm>
        </p:spPr>
        <p:txBody>
          <a:bodyPr/>
          <a:lstStyle/>
          <a:p>
            <a:r>
              <a:rPr lang="en-US" dirty="0" smtClean="0">
                <a:solidFill>
                  <a:srgbClr val="06070A"/>
                </a:solidFill>
                <a:latin typeface="Times New Roman" pitchFamily="18" charset="0"/>
                <a:cs typeface="Times New Roman" pitchFamily="18" charset="0"/>
              </a:rPr>
              <a:t>Monitor</a:t>
            </a:r>
            <a:endParaRPr lang="en-US" dirty="0">
              <a:solidFill>
                <a:srgbClr val="06070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768" y="383591"/>
            <a:ext cx="5087969" cy="2984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680" y="3605753"/>
            <a:ext cx="5718431" cy="304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91344" y="332656"/>
            <a:ext cx="11016604" cy="863601"/>
          </a:xfrm>
        </p:spPr>
        <p:txBody>
          <a:bodyPr/>
          <a:lstStyle/>
          <a:p>
            <a:r>
              <a:rPr lang="en-US" dirty="0" smtClean="0"/>
              <a:t>OUTPUT DE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246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PRINTERS</a:t>
            </a:r>
            <a:endParaRPr lang="en-US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005" y="1490633"/>
            <a:ext cx="9946451" cy="4026560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Types of printers</a:t>
            </a:r>
          </a:p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1.Laser jet</a:t>
            </a:r>
          </a:p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2.Ink jet</a:t>
            </a:r>
          </a:p>
          <a:p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3.Dot-Matrix</a:t>
            </a:r>
          </a:p>
          <a:p>
            <a:endParaRPr lang="en-US" sz="2400" b="1" dirty="0" smtClean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sz="2400" b="1" dirty="0" smtClean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b="1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Components of laser je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Tonner hopper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Laser unit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Drum assembly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Fuser</a:t>
            </a:r>
          </a:p>
          <a:p>
            <a:pPr lvl="1"/>
            <a:r>
              <a:rPr lang="en-US" sz="2400" dirty="0" smtClean="0">
                <a:solidFill>
                  <a:srgbClr val="010203"/>
                </a:solidFill>
                <a:latin typeface="Times New Roman" pitchFamily="18" charset="0"/>
                <a:cs typeface="Times New Roman" pitchFamily="18" charset="0"/>
              </a:rPr>
              <a:t>Paper tray</a:t>
            </a:r>
            <a:endParaRPr lang="en-US" sz="2400" dirty="0">
              <a:solidFill>
                <a:srgbClr val="01020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950" y="1373125"/>
            <a:ext cx="4582258" cy="414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C:\Users\NANDIN\Downloads\laser-printer3-500x50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809" y="515934"/>
            <a:ext cx="2838510" cy="2192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C:\Users\NANDIN\Downloads\electronic-ultrasonic-pest-repeller-250x25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259" y="2486437"/>
            <a:ext cx="2628183" cy="2076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NANDIN\Downloads\cartridge-parts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8747" y="4563004"/>
            <a:ext cx="2669861" cy="212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191964" y="2924944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Laser Jet Printer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672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113" y="692696"/>
            <a:ext cx="6169967" cy="796136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latin typeface="Century Gothic" panose="020B0502020202020204" pitchFamily="34" charset="0"/>
              </a:rPr>
              <a:t>DOT MATRIX PRINTER</a:t>
            </a:r>
            <a:endParaRPr lang="en-US" sz="2800" b="1" dirty="0">
              <a:latin typeface="Century Gothic" panose="020B0502020202020204" pitchFamily="34" charset="0"/>
            </a:endParaRPr>
          </a:p>
        </p:txBody>
      </p:sp>
      <p:pic>
        <p:nvPicPr>
          <p:cNvPr id="3074" name="Picture 2" descr="C:\Users\NANDIN\Downloads\71SKjyePBzL._SL1500_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85" y="1340768"/>
            <a:ext cx="4032448" cy="2376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NANDIN\Downloads\maxresdefaul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635" y="1412776"/>
            <a:ext cx="4003781" cy="2298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358081" y="4437112"/>
            <a:ext cx="6169967" cy="7961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800" b="1" dirty="0" smtClean="0">
                <a:latin typeface="Century Gothic" panose="020B0502020202020204" pitchFamily="34" charset="0"/>
              </a:rPr>
              <a:t>INK JET PRINTER</a:t>
            </a:r>
            <a:endParaRPr lang="en-US" sz="2800" b="1" dirty="0">
              <a:latin typeface="Century Gothic" panose="020B0502020202020204" pitchFamily="34" charset="0"/>
            </a:endParaRPr>
          </a:p>
        </p:txBody>
      </p:sp>
      <p:pic>
        <p:nvPicPr>
          <p:cNvPr id="8" name="Picture 6" descr="C:\Users\NANDIN\Downloads\u_1014374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557" y="4052328"/>
            <a:ext cx="2664403" cy="2689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NANDIN\Downloads\recycle-inkjet-cartridges-300x30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2385" y="3848725"/>
            <a:ext cx="2743573" cy="2743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:\Users\NANDIN\Downloads\HTB10Ts0QpXXXXbuXXXXq6xXFXXX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4006" y="4246074"/>
            <a:ext cx="2608971" cy="2514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9875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heme/theme1.xml><?xml version="1.0" encoding="utf-8"?>
<a:theme xmlns:a="http://schemas.openxmlformats.org/drawingml/2006/main" name="Capgemini_Template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D76BB8BF-901C-4709-A70B-B9D859909653}"/>
    </a:ext>
  </a:extLst>
</a:theme>
</file>

<file path=ppt/theme/theme2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504A320-BF0C-4A8E-8664-9644A9AF95DC}"/>
    </a:ext>
  </a:extLst>
</a:theme>
</file>

<file path=ppt/theme/theme3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4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065CD12-128C-4DBC-873E-82FC4B88A761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pgemini_Template</Template>
  <TotalTime>23189</TotalTime>
  <Words>1172</Words>
  <Application>Microsoft Office PowerPoint</Application>
  <PresentationFormat>Widescreen</PresentationFormat>
  <Paragraphs>423</Paragraphs>
  <Slides>6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6</vt:i4>
      </vt:variant>
    </vt:vector>
  </HeadingPairs>
  <TitlesOfParts>
    <vt:vector size="79" baseType="lpstr">
      <vt:lpstr>Arial</vt:lpstr>
      <vt:lpstr>Arial Rounded MT Bold</vt:lpstr>
      <vt:lpstr>Baskerville Old Face</vt:lpstr>
      <vt:lpstr>Calibri</vt:lpstr>
      <vt:lpstr>Century Gothic</vt:lpstr>
      <vt:lpstr>Times New Roman</vt:lpstr>
      <vt:lpstr>Verdana</vt:lpstr>
      <vt:lpstr>Wingdings</vt:lpstr>
      <vt:lpstr>Capgemini_Template</vt:lpstr>
      <vt:lpstr>Section slides</vt:lpstr>
      <vt:lpstr>Content Layouts</vt:lpstr>
      <vt:lpstr>Content and Image Layouts</vt:lpstr>
      <vt:lpstr>think-cell Slide</vt:lpstr>
      <vt:lpstr>PowerPoint Presentation</vt:lpstr>
      <vt:lpstr>AGENDA</vt:lpstr>
      <vt:lpstr>PowerPoint Presentation</vt:lpstr>
      <vt:lpstr>INPUT DEVICES</vt:lpstr>
      <vt:lpstr>Working principle of scanner</vt:lpstr>
      <vt:lpstr>SCANNER</vt:lpstr>
      <vt:lpstr>OUTPUT DEVICES</vt:lpstr>
      <vt:lpstr>PRINTERS</vt:lpstr>
      <vt:lpstr>DOT MATRIX PRINTER</vt:lpstr>
      <vt:lpstr> SMPS</vt:lpstr>
      <vt:lpstr>Motherboard</vt:lpstr>
      <vt:lpstr>HARD DISK</vt:lpstr>
      <vt:lpstr>Memory</vt:lpstr>
      <vt:lpstr>PowerPoint Presentation</vt:lpstr>
      <vt:lpstr>                                               Operating system </vt:lpstr>
      <vt:lpstr>PowerPoint Presentation</vt:lpstr>
      <vt:lpstr>PowerPoint Presentation</vt:lpstr>
      <vt:lpstr>PowerPoint Presentation</vt:lpstr>
      <vt:lpstr>Management Mechanisms </vt:lpstr>
      <vt:lpstr>PowerPoint Presentation</vt:lpstr>
      <vt:lpstr>                                        Process Management    </vt:lpstr>
      <vt:lpstr>PowerPoint Presentation</vt:lpstr>
      <vt:lpstr>PowerPoint Presentation</vt:lpstr>
      <vt:lpstr>Introduction:</vt:lpstr>
      <vt:lpstr>Linux Subsystem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                TYPES OF NETWORKS</vt:lpstr>
      <vt:lpstr>PowerPoint Presentation</vt:lpstr>
      <vt:lpstr>           TCP/IP LAYERS AND OSI LAYERS</vt:lpstr>
      <vt:lpstr>                      IP ADDRESS CLASS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ructured query language  SQL is a standard computer language for relational database management and data manipulation. </vt:lpstr>
      <vt:lpstr>General RDBMS architecture</vt:lpstr>
      <vt:lpstr>PowerPoint Presentation</vt:lpstr>
      <vt:lpstr>STORAGE</vt:lpstr>
      <vt:lpstr>Types of Storage</vt:lpstr>
      <vt:lpstr>PowerPoint Presentation</vt:lpstr>
      <vt:lpstr>PowerPoint Presentation</vt:lpstr>
      <vt:lpstr>RAID 0 and RAID 1</vt:lpstr>
      <vt:lpstr>RAID 5 and RAID 6</vt:lpstr>
      <vt:lpstr>RAID 01 and RAID 10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insert title title</dc:title>
  <dc:creator>Tomasz Cwiklinski</dc:creator>
  <cp:lastModifiedBy>Raavi, Vinay</cp:lastModifiedBy>
  <cp:revision>216</cp:revision>
  <dcterms:created xsi:type="dcterms:W3CDTF">2017-10-18T07:07:16Z</dcterms:created>
  <dcterms:modified xsi:type="dcterms:W3CDTF">2018-04-07T12:14:13Z</dcterms:modified>
</cp:coreProperties>
</file>